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1.xml" ContentType="application/vnd.openxmlformats-officedocument.presentationml.tags+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3.xml" ContentType="application/vnd.openxmlformats-officedocument.presentationml.tags+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8.xml" ContentType="application/vnd.openxmlformats-officedocument.presentationml.tags+xml"/>
  <Override PartName="/ppt/notesSlides/notesSlide2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9.xml" ContentType="application/vnd.openxmlformats-officedocument.presentationml.tags+xml"/>
  <Override PartName="/ppt/notesSlides/notesSlide2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04" r:id="rId4"/>
    <p:sldMasterId id="2147484306" r:id="rId5"/>
    <p:sldMasterId id="2147484309" r:id="rId6"/>
    <p:sldMasterId id="2147484310" r:id="rId7"/>
  </p:sldMasterIdLst>
  <p:notesMasterIdLst>
    <p:notesMasterId r:id="rId36"/>
  </p:notesMasterIdLst>
  <p:handoutMasterIdLst>
    <p:handoutMasterId r:id="rId37"/>
  </p:handoutMasterIdLst>
  <p:sldIdLst>
    <p:sldId id="465" r:id="rId8"/>
    <p:sldId id="466" r:id="rId9"/>
    <p:sldId id="464" r:id="rId10"/>
    <p:sldId id="470" r:id="rId11"/>
    <p:sldId id="486" r:id="rId12"/>
    <p:sldId id="425" r:id="rId13"/>
    <p:sldId id="472" r:id="rId14"/>
    <p:sldId id="426" r:id="rId15"/>
    <p:sldId id="427" r:id="rId16"/>
    <p:sldId id="428" r:id="rId17"/>
    <p:sldId id="429" r:id="rId18"/>
    <p:sldId id="468" r:id="rId19"/>
    <p:sldId id="471" r:id="rId20"/>
    <p:sldId id="463" r:id="rId21"/>
    <p:sldId id="473" r:id="rId22"/>
    <p:sldId id="432" r:id="rId23"/>
    <p:sldId id="474" r:id="rId24"/>
    <p:sldId id="475" r:id="rId25"/>
    <p:sldId id="483" r:id="rId26"/>
    <p:sldId id="476" r:id="rId27"/>
    <p:sldId id="477" r:id="rId28"/>
    <p:sldId id="478" r:id="rId29"/>
    <p:sldId id="484" r:id="rId30"/>
    <p:sldId id="479" r:id="rId31"/>
    <p:sldId id="482" r:id="rId32"/>
    <p:sldId id="485" r:id="rId33"/>
    <p:sldId id="435" r:id="rId34"/>
    <p:sldId id="461" r:id="rId35"/>
  </p:sldIdLst>
  <p:sldSz cx="9906000" cy="6858000" type="A4"/>
  <p:notesSz cx="6797675" cy="9874250"/>
  <p:custDataLst>
    <p:tags r:id="rId38"/>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0552" autoAdjust="0"/>
  </p:normalViewPr>
  <p:slideViewPr>
    <p:cSldViewPr snapToGrid="0">
      <p:cViewPr varScale="1">
        <p:scale>
          <a:sx n="74" d="100"/>
          <a:sy n="74" d="100"/>
        </p:scale>
        <p:origin x="2154" y="66"/>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diagrams/_rels/data2.xml.rels><?xml version="1.0" encoding="UTF-8" standalone="yes"?>
<Relationships xmlns="http://schemas.openxmlformats.org/package/2006/relationships"><Relationship Id="rId1" Type="http://schemas.openxmlformats.org/officeDocument/2006/relationships/image" Target="../media/image13.png"/></Relationships>
</file>

<file path=ppt/diagrams/_rels/data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diagrams/_rels/data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diagrams/_rels/drawing2.xml.rels><?xml version="1.0" encoding="UTF-8" standalone="yes"?>
<Relationships xmlns="http://schemas.openxmlformats.org/package/2006/relationships"><Relationship Id="rId1" Type="http://schemas.openxmlformats.org/officeDocument/2006/relationships/image" Target="../media/image13.png"/></Relationships>
</file>

<file path=ppt/diagrams/_rels/drawing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diagrams/_rels/drawing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238396-6902-4DFF-8C1D-E358B19B4CD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95BEF80-E42B-457A-96C6-C1A814C6EB3E}">
      <dgm:prSet phldrT="[Text]" custT="1"/>
      <dgm:spPr/>
      <dgm:t>
        <a:bodyPr/>
        <a:lstStyle/>
        <a:p>
          <a:r>
            <a:rPr lang="en-US" sz="2000" dirty="0" smtClean="0"/>
            <a:t>Stands for ‘Not Only SQL’.</a:t>
          </a:r>
          <a:endParaRPr lang="en-US" sz="2000" dirty="0"/>
        </a:p>
      </dgm:t>
    </dgm:pt>
    <dgm:pt modelId="{D3C4A77D-3881-4462-907D-3FA796AEF77E}" type="parTrans" cxnId="{C8E82C92-68AA-491F-BDB3-8A9C1CF02780}">
      <dgm:prSet/>
      <dgm:spPr/>
      <dgm:t>
        <a:bodyPr/>
        <a:lstStyle/>
        <a:p>
          <a:endParaRPr lang="en-US" sz="2000"/>
        </a:p>
      </dgm:t>
    </dgm:pt>
    <dgm:pt modelId="{1D72118D-2582-44C1-88E5-4FE0BFEE0985}" type="sibTrans" cxnId="{C8E82C92-68AA-491F-BDB3-8A9C1CF02780}">
      <dgm:prSet/>
      <dgm:spPr/>
      <dgm:t>
        <a:bodyPr/>
        <a:lstStyle/>
        <a:p>
          <a:endParaRPr lang="en-US" sz="2000"/>
        </a:p>
      </dgm:t>
    </dgm:pt>
    <dgm:pt modelId="{0AC3137B-0054-4592-8CFB-1BA2FF39C9AB}">
      <dgm:prSet phldrT="[Text]" custT="1"/>
      <dgm:spPr/>
      <dgm:t>
        <a:bodyPr/>
        <a:lstStyle/>
        <a:p>
          <a:r>
            <a:rPr lang="en-US" sz="2000" dirty="0" smtClean="0"/>
            <a:t>Originally refers to “non SQL” or “non Relational” database. </a:t>
          </a:r>
          <a:endParaRPr lang="en-US" sz="2000" dirty="0"/>
        </a:p>
      </dgm:t>
    </dgm:pt>
    <dgm:pt modelId="{3E284F85-89A6-405B-8D4C-280454333159}" type="parTrans" cxnId="{5AC7E404-CA1E-4250-8D59-00B4DCA692B0}">
      <dgm:prSet/>
      <dgm:spPr/>
      <dgm:t>
        <a:bodyPr/>
        <a:lstStyle/>
        <a:p>
          <a:endParaRPr lang="en-US" sz="2000"/>
        </a:p>
      </dgm:t>
    </dgm:pt>
    <dgm:pt modelId="{4F087FDA-FF1E-498B-A5CD-646A5BA383F8}" type="sibTrans" cxnId="{5AC7E404-CA1E-4250-8D59-00B4DCA692B0}">
      <dgm:prSet/>
      <dgm:spPr/>
      <dgm:t>
        <a:bodyPr/>
        <a:lstStyle/>
        <a:p>
          <a:endParaRPr lang="en-US" sz="2000"/>
        </a:p>
      </dgm:t>
    </dgm:pt>
    <dgm:pt modelId="{B6E83ABC-0C75-4646-B377-5460A846C829}">
      <dgm:prSet phldrT="[Text]" custT="1"/>
      <dgm:spPr/>
      <dgm:t>
        <a:bodyPr/>
        <a:lstStyle/>
        <a:p>
          <a:r>
            <a:rPr lang="en-US" sz="2000" dirty="0" smtClean="0"/>
            <a:t>Term coined  by Carlo Strozzi in 1998.</a:t>
          </a:r>
          <a:endParaRPr lang="en-US" sz="2000" dirty="0"/>
        </a:p>
      </dgm:t>
    </dgm:pt>
    <dgm:pt modelId="{43EAD024-6F7B-4739-863C-6EF3A1F4251E}" type="parTrans" cxnId="{08D44BC1-0116-4E0F-B97C-EE5D4DF288A1}">
      <dgm:prSet/>
      <dgm:spPr/>
      <dgm:t>
        <a:bodyPr/>
        <a:lstStyle/>
        <a:p>
          <a:endParaRPr lang="en-US" sz="2000"/>
        </a:p>
      </dgm:t>
    </dgm:pt>
    <dgm:pt modelId="{F2BBEAC4-631C-4A05-9254-6EDF99AEDE86}" type="sibTrans" cxnId="{08D44BC1-0116-4E0F-B97C-EE5D4DF288A1}">
      <dgm:prSet/>
      <dgm:spPr/>
      <dgm:t>
        <a:bodyPr/>
        <a:lstStyle/>
        <a:p>
          <a:endParaRPr lang="en-US" sz="2000"/>
        </a:p>
      </dgm:t>
    </dgm:pt>
    <dgm:pt modelId="{E4C6DC35-A932-4DAC-9877-45466BD2CBA1}">
      <dgm:prSet phldrT="[Text]" custT="1"/>
      <dgm:spPr/>
      <dgm:t>
        <a:bodyPr/>
        <a:lstStyle/>
        <a:p>
          <a:r>
            <a:rPr lang="en-US" sz="2000" dirty="0" smtClean="0"/>
            <a:t>Open Source.</a:t>
          </a:r>
          <a:endParaRPr lang="en-US" sz="2000" dirty="0"/>
        </a:p>
      </dgm:t>
    </dgm:pt>
    <dgm:pt modelId="{9C7CD79E-F6EB-4502-BB26-1696F9466568}" type="parTrans" cxnId="{82BA4613-FB0D-40DD-B546-467A74296943}">
      <dgm:prSet/>
      <dgm:spPr/>
      <dgm:t>
        <a:bodyPr/>
        <a:lstStyle/>
        <a:p>
          <a:endParaRPr lang="en-US" sz="2000"/>
        </a:p>
      </dgm:t>
    </dgm:pt>
    <dgm:pt modelId="{C4226754-3EF5-4B45-AE27-FF4A189F1C23}" type="sibTrans" cxnId="{82BA4613-FB0D-40DD-B546-467A74296943}">
      <dgm:prSet/>
      <dgm:spPr/>
      <dgm:t>
        <a:bodyPr/>
        <a:lstStyle/>
        <a:p>
          <a:endParaRPr lang="en-US" sz="2000"/>
        </a:p>
      </dgm:t>
    </dgm:pt>
    <dgm:pt modelId="{CA78DB2F-CE7A-459A-BE77-95BC66E6DDCC}">
      <dgm:prSet phldrT="[Text]" custT="1"/>
      <dgm:spPr/>
      <dgm:t>
        <a:bodyPr/>
        <a:lstStyle/>
        <a:p>
          <a:r>
            <a:rPr lang="en-US" sz="2000" dirty="0" smtClean="0"/>
            <a:t>No Rows-Columns / Tables.</a:t>
          </a:r>
          <a:endParaRPr lang="en-US" sz="2000" dirty="0"/>
        </a:p>
      </dgm:t>
    </dgm:pt>
    <dgm:pt modelId="{E91133E5-7AD1-4E2D-905B-B0BF47467141}" type="parTrans" cxnId="{14C67913-FCFC-4D6E-86EF-971413FFD80A}">
      <dgm:prSet/>
      <dgm:spPr/>
      <dgm:t>
        <a:bodyPr/>
        <a:lstStyle/>
        <a:p>
          <a:endParaRPr lang="en-US" sz="2000"/>
        </a:p>
      </dgm:t>
    </dgm:pt>
    <dgm:pt modelId="{720FDD1B-FB20-4B2A-9F39-16CDE1709954}" type="sibTrans" cxnId="{14C67913-FCFC-4D6E-86EF-971413FFD80A}">
      <dgm:prSet/>
      <dgm:spPr/>
      <dgm:t>
        <a:bodyPr/>
        <a:lstStyle/>
        <a:p>
          <a:endParaRPr lang="en-US" sz="2000"/>
        </a:p>
      </dgm:t>
    </dgm:pt>
    <dgm:pt modelId="{9D981CB2-B60B-4CFE-8E50-CA8B419261B2}">
      <dgm:prSet phldrT="[Text]" custT="1"/>
      <dgm:spPr/>
      <dgm:t>
        <a:bodyPr/>
        <a:lstStyle/>
        <a:p>
          <a:r>
            <a:rPr lang="en-US" sz="2000" dirty="0" smtClean="0"/>
            <a:t>No Predefined schema.</a:t>
          </a:r>
          <a:endParaRPr lang="en-US" sz="2000" dirty="0"/>
        </a:p>
      </dgm:t>
    </dgm:pt>
    <dgm:pt modelId="{5104973F-994B-482D-BB4A-A21D46170B00}" type="parTrans" cxnId="{7570BA52-A285-41DF-BC6C-3C724E936BEA}">
      <dgm:prSet/>
      <dgm:spPr/>
      <dgm:t>
        <a:bodyPr/>
        <a:lstStyle/>
        <a:p>
          <a:endParaRPr lang="en-US" sz="2000"/>
        </a:p>
      </dgm:t>
    </dgm:pt>
    <dgm:pt modelId="{24C84273-F945-4172-B11D-F48A695F5682}" type="sibTrans" cxnId="{7570BA52-A285-41DF-BC6C-3C724E936BEA}">
      <dgm:prSet/>
      <dgm:spPr/>
      <dgm:t>
        <a:bodyPr/>
        <a:lstStyle/>
        <a:p>
          <a:endParaRPr lang="en-US" sz="2000"/>
        </a:p>
      </dgm:t>
    </dgm:pt>
    <dgm:pt modelId="{76168F0E-5E21-4F0E-BE9C-017EABAA42EE}">
      <dgm:prSet phldrT="[Text]" custT="1"/>
      <dgm:spPr/>
      <dgm:t>
        <a:bodyPr/>
        <a:lstStyle/>
        <a:p>
          <a:r>
            <a:rPr lang="en-US" sz="2000" dirty="0" smtClean="0"/>
            <a:t>Eventually consistency rather than ACID property.</a:t>
          </a:r>
          <a:endParaRPr lang="en-US" sz="2000" dirty="0"/>
        </a:p>
      </dgm:t>
    </dgm:pt>
    <dgm:pt modelId="{C481F749-9F24-4945-A7A9-36221E9DCA4F}" type="parTrans" cxnId="{48BF0140-A1CB-4F46-A7C5-826024C706C5}">
      <dgm:prSet/>
      <dgm:spPr/>
      <dgm:t>
        <a:bodyPr/>
        <a:lstStyle/>
        <a:p>
          <a:endParaRPr lang="en-US" sz="2000"/>
        </a:p>
      </dgm:t>
    </dgm:pt>
    <dgm:pt modelId="{6E6474C3-3044-48B4-89FC-DF4A4284862A}" type="sibTrans" cxnId="{48BF0140-A1CB-4F46-A7C5-826024C706C5}">
      <dgm:prSet/>
      <dgm:spPr/>
      <dgm:t>
        <a:bodyPr/>
        <a:lstStyle/>
        <a:p>
          <a:endParaRPr lang="en-US" sz="2000"/>
        </a:p>
      </dgm:t>
    </dgm:pt>
    <dgm:pt modelId="{623C7163-34E5-49CD-83B9-8B8ABA7A5F71}">
      <dgm:prSet phldrT="[Text]" custT="1"/>
      <dgm:spPr/>
      <dgm:t>
        <a:bodyPr/>
        <a:lstStyle/>
        <a:p>
          <a:r>
            <a:rPr lang="en-US" sz="2000" dirty="0" smtClean="0"/>
            <a:t>Distributed computing.</a:t>
          </a:r>
          <a:endParaRPr lang="en-US" sz="2000" dirty="0"/>
        </a:p>
      </dgm:t>
    </dgm:pt>
    <dgm:pt modelId="{537F8CDA-FA4A-4BCF-9748-BB6691E92A3B}" type="parTrans" cxnId="{5AA18EDE-D2BD-4246-9585-C2FF1A11E998}">
      <dgm:prSet/>
      <dgm:spPr/>
      <dgm:t>
        <a:bodyPr/>
        <a:lstStyle/>
        <a:p>
          <a:endParaRPr lang="en-US" sz="2000"/>
        </a:p>
      </dgm:t>
    </dgm:pt>
    <dgm:pt modelId="{290C3192-B6CE-4331-AB83-1A5402FE3439}" type="sibTrans" cxnId="{5AA18EDE-D2BD-4246-9585-C2FF1A11E998}">
      <dgm:prSet/>
      <dgm:spPr/>
      <dgm:t>
        <a:bodyPr/>
        <a:lstStyle/>
        <a:p>
          <a:endParaRPr lang="en-US" sz="2000"/>
        </a:p>
      </dgm:t>
    </dgm:pt>
    <dgm:pt modelId="{CF0967C8-E31E-483F-B066-2C2FBC0C7883}">
      <dgm:prSet phldrT="[Text]" custT="1"/>
      <dgm:spPr/>
      <dgm:t>
        <a:bodyPr/>
        <a:lstStyle/>
        <a:p>
          <a:r>
            <a:rPr lang="en-US" sz="2000" dirty="0" smtClean="0"/>
            <a:t>Unstructured and unpredictable data.</a:t>
          </a:r>
          <a:endParaRPr lang="en-US" sz="2000" dirty="0"/>
        </a:p>
      </dgm:t>
    </dgm:pt>
    <dgm:pt modelId="{8884CD3F-B250-41FC-B1AF-A16CAA74FCF4}" type="parTrans" cxnId="{8D61C43C-5921-412A-83BC-C9D1EF6E22B8}">
      <dgm:prSet/>
      <dgm:spPr/>
      <dgm:t>
        <a:bodyPr/>
        <a:lstStyle/>
        <a:p>
          <a:endParaRPr lang="en-US" sz="2000"/>
        </a:p>
      </dgm:t>
    </dgm:pt>
    <dgm:pt modelId="{E0164FF4-77C4-4B49-851E-D517103C6171}" type="sibTrans" cxnId="{8D61C43C-5921-412A-83BC-C9D1EF6E22B8}">
      <dgm:prSet/>
      <dgm:spPr/>
      <dgm:t>
        <a:bodyPr/>
        <a:lstStyle/>
        <a:p>
          <a:endParaRPr lang="en-US" sz="2000"/>
        </a:p>
      </dgm:t>
    </dgm:pt>
    <dgm:pt modelId="{6F3370B4-B6EE-4F23-BD91-CEDE867CC529}">
      <dgm:prSet phldrT="[Text]" custT="1"/>
      <dgm:spPr/>
      <dgm:t>
        <a:bodyPr/>
        <a:lstStyle/>
        <a:p>
          <a:r>
            <a:rPr lang="en-US" sz="2000" dirty="0" smtClean="0"/>
            <a:t>Prioritizes high scalability ,high availability and scalability.</a:t>
          </a:r>
          <a:endParaRPr lang="en-US" sz="2000" dirty="0"/>
        </a:p>
      </dgm:t>
    </dgm:pt>
    <dgm:pt modelId="{E1F5DFF5-E158-4004-B0F6-89D38468BA59}" type="parTrans" cxnId="{184CD80C-A695-4EC1-8B4B-AE6AA7AADB78}">
      <dgm:prSet/>
      <dgm:spPr/>
      <dgm:t>
        <a:bodyPr/>
        <a:lstStyle/>
        <a:p>
          <a:endParaRPr lang="en-US" sz="2000"/>
        </a:p>
      </dgm:t>
    </dgm:pt>
    <dgm:pt modelId="{16252F5B-9280-4A76-9430-5061CBABCF42}" type="sibTrans" cxnId="{184CD80C-A695-4EC1-8B4B-AE6AA7AADB78}">
      <dgm:prSet/>
      <dgm:spPr/>
      <dgm:t>
        <a:bodyPr/>
        <a:lstStyle/>
        <a:p>
          <a:endParaRPr lang="en-US" sz="2000"/>
        </a:p>
      </dgm:t>
    </dgm:pt>
    <dgm:pt modelId="{0388E921-7FDB-478A-9C51-9CCB23DD649F}">
      <dgm:prSet phldrT="[Text]" custT="1"/>
      <dgm:spPr/>
      <dgm:t>
        <a:bodyPr/>
        <a:lstStyle/>
        <a:p>
          <a:r>
            <a:rPr lang="en-US" sz="2000" dirty="0" smtClean="0"/>
            <a:t>Replication support .</a:t>
          </a:r>
          <a:endParaRPr lang="en-US" sz="2000" dirty="0"/>
        </a:p>
      </dgm:t>
    </dgm:pt>
    <dgm:pt modelId="{E2DC88E6-6954-4BB0-BAEF-4EC96CB78F45}" type="parTrans" cxnId="{2EAA8898-353C-462E-BB57-E9DB042E3A25}">
      <dgm:prSet/>
      <dgm:spPr/>
      <dgm:t>
        <a:bodyPr/>
        <a:lstStyle/>
        <a:p>
          <a:endParaRPr lang="en-US" sz="2000"/>
        </a:p>
      </dgm:t>
    </dgm:pt>
    <dgm:pt modelId="{3942CC78-B07B-4B0D-90C0-02D6EF5409E3}" type="sibTrans" cxnId="{2EAA8898-353C-462E-BB57-E9DB042E3A25}">
      <dgm:prSet/>
      <dgm:spPr/>
      <dgm:t>
        <a:bodyPr/>
        <a:lstStyle/>
        <a:p>
          <a:endParaRPr lang="en-US" sz="2000"/>
        </a:p>
      </dgm:t>
    </dgm:pt>
    <dgm:pt modelId="{1681888F-E8B8-425F-B655-D74550925476}" type="pres">
      <dgm:prSet presAssocID="{9F238396-6902-4DFF-8C1D-E358B19B4CDB}" presName="linear" presStyleCnt="0">
        <dgm:presLayoutVars>
          <dgm:animLvl val="lvl"/>
          <dgm:resizeHandles val="exact"/>
        </dgm:presLayoutVars>
      </dgm:prSet>
      <dgm:spPr/>
      <dgm:t>
        <a:bodyPr/>
        <a:lstStyle/>
        <a:p>
          <a:endParaRPr lang="en-US"/>
        </a:p>
      </dgm:t>
    </dgm:pt>
    <dgm:pt modelId="{94B02F39-DDC3-46F6-8923-1AEC94BD7144}" type="pres">
      <dgm:prSet presAssocID="{195BEF80-E42B-457A-96C6-C1A814C6EB3E}" presName="parentText" presStyleLbl="node1" presStyleIdx="0" presStyleCnt="11">
        <dgm:presLayoutVars>
          <dgm:chMax val="0"/>
          <dgm:bulletEnabled val="1"/>
        </dgm:presLayoutVars>
      </dgm:prSet>
      <dgm:spPr/>
      <dgm:t>
        <a:bodyPr/>
        <a:lstStyle/>
        <a:p>
          <a:endParaRPr lang="en-US"/>
        </a:p>
      </dgm:t>
    </dgm:pt>
    <dgm:pt modelId="{37458B01-2ED0-4688-97B9-83DCCEE555D9}" type="pres">
      <dgm:prSet presAssocID="{1D72118D-2582-44C1-88E5-4FE0BFEE0985}" presName="spacer" presStyleCnt="0"/>
      <dgm:spPr/>
    </dgm:pt>
    <dgm:pt modelId="{1DF4BD19-CA46-4700-9C0C-EC3D3F872475}" type="pres">
      <dgm:prSet presAssocID="{0AC3137B-0054-4592-8CFB-1BA2FF39C9AB}" presName="parentText" presStyleLbl="node1" presStyleIdx="1" presStyleCnt="11">
        <dgm:presLayoutVars>
          <dgm:chMax val="0"/>
          <dgm:bulletEnabled val="1"/>
        </dgm:presLayoutVars>
      </dgm:prSet>
      <dgm:spPr/>
      <dgm:t>
        <a:bodyPr/>
        <a:lstStyle/>
        <a:p>
          <a:endParaRPr lang="en-US"/>
        </a:p>
      </dgm:t>
    </dgm:pt>
    <dgm:pt modelId="{749363B0-ACE3-4986-BFB4-A9C0634F6801}" type="pres">
      <dgm:prSet presAssocID="{4F087FDA-FF1E-498B-A5CD-646A5BA383F8}" presName="spacer" presStyleCnt="0"/>
      <dgm:spPr/>
    </dgm:pt>
    <dgm:pt modelId="{AD0C95AC-4994-4041-A20B-2F8F95F8ADBC}" type="pres">
      <dgm:prSet presAssocID="{B6E83ABC-0C75-4646-B377-5460A846C829}" presName="parentText" presStyleLbl="node1" presStyleIdx="2" presStyleCnt="11">
        <dgm:presLayoutVars>
          <dgm:chMax val="0"/>
          <dgm:bulletEnabled val="1"/>
        </dgm:presLayoutVars>
      </dgm:prSet>
      <dgm:spPr/>
      <dgm:t>
        <a:bodyPr/>
        <a:lstStyle/>
        <a:p>
          <a:endParaRPr lang="en-US"/>
        </a:p>
      </dgm:t>
    </dgm:pt>
    <dgm:pt modelId="{717D416C-DFB8-4787-82FE-B8E1788AC7CE}" type="pres">
      <dgm:prSet presAssocID="{F2BBEAC4-631C-4A05-9254-6EDF99AEDE86}" presName="spacer" presStyleCnt="0"/>
      <dgm:spPr/>
    </dgm:pt>
    <dgm:pt modelId="{0411D0A0-287F-43E2-B73E-A3200DF92774}" type="pres">
      <dgm:prSet presAssocID="{E4C6DC35-A932-4DAC-9877-45466BD2CBA1}" presName="parentText" presStyleLbl="node1" presStyleIdx="3" presStyleCnt="11">
        <dgm:presLayoutVars>
          <dgm:chMax val="0"/>
          <dgm:bulletEnabled val="1"/>
        </dgm:presLayoutVars>
      </dgm:prSet>
      <dgm:spPr/>
      <dgm:t>
        <a:bodyPr/>
        <a:lstStyle/>
        <a:p>
          <a:endParaRPr lang="en-US"/>
        </a:p>
      </dgm:t>
    </dgm:pt>
    <dgm:pt modelId="{0B970020-4CBB-409C-ADE9-7BC366B37C2B}" type="pres">
      <dgm:prSet presAssocID="{C4226754-3EF5-4B45-AE27-FF4A189F1C23}" presName="spacer" presStyleCnt="0"/>
      <dgm:spPr/>
    </dgm:pt>
    <dgm:pt modelId="{E474C7D2-0CE2-4062-9B5B-9BBD30B84A5D}" type="pres">
      <dgm:prSet presAssocID="{CA78DB2F-CE7A-459A-BE77-95BC66E6DDCC}" presName="parentText" presStyleLbl="node1" presStyleIdx="4" presStyleCnt="11">
        <dgm:presLayoutVars>
          <dgm:chMax val="0"/>
          <dgm:bulletEnabled val="1"/>
        </dgm:presLayoutVars>
      </dgm:prSet>
      <dgm:spPr/>
      <dgm:t>
        <a:bodyPr/>
        <a:lstStyle/>
        <a:p>
          <a:endParaRPr lang="en-US"/>
        </a:p>
      </dgm:t>
    </dgm:pt>
    <dgm:pt modelId="{32FC409E-9AC2-40AC-9A5E-355306F4DFAB}" type="pres">
      <dgm:prSet presAssocID="{720FDD1B-FB20-4B2A-9F39-16CDE1709954}" presName="spacer" presStyleCnt="0"/>
      <dgm:spPr/>
    </dgm:pt>
    <dgm:pt modelId="{418774BE-ECAD-4572-8421-F1BB3B861F06}" type="pres">
      <dgm:prSet presAssocID="{9D981CB2-B60B-4CFE-8E50-CA8B419261B2}" presName="parentText" presStyleLbl="node1" presStyleIdx="5" presStyleCnt="11">
        <dgm:presLayoutVars>
          <dgm:chMax val="0"/>
          <dgm:bulletEnabled val="1"/>
        </dgm:presLayoutVars>
      </dgm:prSet>
      <dgm:spPr/>
      <dgm:t>
        <a:bodyPr/>
        <a:lstStyle/>
        <a:p>
          <a:endParaRPr lang="en-US"/>
        </a:p>
      </dgm:t>
    </dgm:pt>
    <dgm:pt modelId="{2B59B684-B95C-4C30-9C63-EC41EEB35086}" type="pres">
      <dgm:prSet presAssocID="{24C84273-F945-4172-B11D-F48A695F5682}" presName="spacer" presStyleCnt="0"/>
      <dgm:spPr/>
    </dgm:pt>
    <dgm:pt modelId="{9B00DABB-E506-486A-9F48-61FE6C39CA87}" type="pres">
      <dgm:prSet presAssocID="{76168F0E-5E21-4F0E-BE9C-017EABAA42EE}" presName="parentText" presStyleLbl="node1" presStyleIdx="6" presStyleCnt="11">
        <dgm:presLayoutVars>
          <dgm:chMax val="0"/>
          <dgm:bulletEnabled val="1"/>
        </dgm:presLayoutVars>
      </dgm:prSet>
      <dgm:spPr/>
      <dgm:t>
        <a:bodyPr/>
        <a:lstStyle/>
        <a:p>
          <a:endParaRPr lang="en-US"/>
        </a:p>
      </dgm:t>
    </dgm:pt>
    <dgm:pt modelId="{AFB4FA84-A5C6-4EB9-9157-02AA682258B0}" type="pres">
      <dgm:prSet presAssocID="{6E6474C3-3044-48B4-89FC-DF4A4284862A}" presName="spacer" presStyleCnt="0"/>
      <dgm:spPr/>
    </dgm:pt>
    <dgm:pt modelId="{4012C59D-DC4C-4D32-94FD-469B19DC1685}" type="pres">
      <dgm:prSet presAssocID="{623C7163-34E5-49CD-83B9-8B8ABA7A5F71}" presName="parentText" presStyleLbl="node1" presStyleIdx="7" presStyleCnt="11">
        <dgm:presLayoutVars>
          <dgm:chMax val="0"/>
          <dgm:bulletEnabled val="1"/>
        </dgm:presLayoutVars>
      </dgm:prSet>
      <dgm:spPr/>
      <dgm:t>
        <a:bodyPr/>
        <a:lstStyle/>
        <a:p>
          <a:endParaRPr lang="en-US"/>
        </a:p>
      </dgm:t>
    </dgm:pt>
    <dgm:pt modelId="{09A2FCBD-C16E-4FFE-AB51-E5029D85535E}" type="pres">
      <dgm:prSet presAssocID="{290C3192-B6CE-4331-AB83-1A5402FE3439}" presName="spacer" presStyleCnt="0"/>
      <dgm:spPr/>
    </dgm:pt>
    <dgm:pt modelId="{3F8DB73C-6AF2-4994-9D01-679E12579E58}" type="pres">
      <dgm:prSet presAssocID="{CF0967C8-E31E-483F-B066-2C2FBC0C7883}" presName="parentText" presStyleLbl="node1" presStyleIdx="8" presStyleCnt="11">
        <dgm:presLayoutVars>
          <dgm:chMax val="0"/>
          <dgm:bulletEnabled val="1"/>
        </dgm:presLayoutVars>
      </dgm:prSet>
      <dgm:spPr/>
      <dgm:t>
        <a:bodyPr/>
        <a:lstStyle/>
        <a:p>
          <a:endParaRPr lang="en-US"/>
        </a:p>
      </dgm:t>
    </dgm:pt>
    <dgm:pt modelId="{1FA1E3BB-443F-4C63-8B4D-2A3EFA909F0F}" type="pres">
      <dgm:prSet presAssocID="{E0164FF4-77C4-4B49-851E-D517103C6171}" presName="spacer" presStyleCnt="0"/>
      <dgm:spPr/>
    </dgm:pt>
    <dgm:pt modelId="{B5CD0D20-11E7-43DD-A611-1D92AD3CBE24}" type="pres">
      <dgm:prSet presAssocID="{6F3370B4-B6EE-4F23-BD91-CEDE867CC529}" presName="parentText" presStyleLbl="node1" presStyleIdx="9" presStyleCnt="11">
        <dgm:presLayoutVars>
          <dgm:chMax val="0"/>
          <dgm:bulletEnabled val="1"/>
        </dgm:presLayoutVars>
      </dgm:prSet>
      <dgm:spPr/>
      <dgm:t>
        <a:bodyPr/>
        <a:lstStyle/>
        <a:p>
          <a:endParaRPr lang="en-US"/>
        </a:p>
      </dgm:t>
    </dgm:pt>
    <dgm:pt modelId="{02252A89-D3E0-4B0E-A92D-F63DA29E9124}" type="pres">
      <dgm:prSet presAssocID="{16252F5B-9280-4A76-9430-5061CBABCF42}" presName="spacer" presStyleCnt="0"/>
      <dgm:spPr/>
    </dgm:pt>
    <dgm:pt modelId="{4293BD6F-27C4-4556-ADD0-E14A479361F4}" type="pres">
      <dgm:prSet presAssocID="{0388E921-7FDB-478A-9C51-9CCB23DD649F}" presName="parentText" presStyleLbl="node1" presStyleIdx="10" presStyleCnt="11">
        <dgm:presLayoutVars>
          <dgm:chMax val="0"/>
          <dgm:bulletEnabled val="1"/>
        </dgm:presLayoutVars>
      </dgm:prSet>
      <dgm:spPr/>
      <dgm:t>
        <a:bodyPr/>
        <a:lstStyle/>
        <a:p>
          <a:endParaRPr lang="en-US"/>
        </a:p>
      </dgm:t>
    </dgm:pt>
  </dgm:ptLst>
  <dgm:cxnLst>
    <dgm:cxn modelId="{5FF64C90-8F78-46F0-9A11-355F6CD342BD}" type="presOf" srcId="{6F3370B4-B6EE-4F23-BD91-CEDE867CC529}" destId="{B5CD0D20-11E7-43DD-A611-1D92AD3CBE24}" srcOrd="0" destOrd="0" presId="urn:microsoft.com/office/officeart/2005/8/layout/vList2"/>
    <dgm:cxn modelId="{F3AA0D58-5483-4FD2-94A5-C7F863163B9A}" type="presOf" srcId="{195BEF80-E42B-457A-96C6-C1A814C6EB3E}" destId="{94B02F39-DDC3-46F6-8923-1AEC94BD7144}" srcOrd="0" destOrd="0" presId="urn:microsoft.com/office/officeart/2005/8/layout/vList2"/>
    <dgm:cxn modelId="{7F1C16B1-220F-44A4-A3C1-2402ACC3828E}" type="presOf" srcId="{0AC3137B-0054-4592-8CFB-1BA2FF39C9AB}" destId="{1DF4BD19-CA46-4700-9C0C-EC3D3F872475}" srcOrd="0" destOrd="0" presId="urn:microsoft.com/office/officeart/2005/8/layout/vList2"/>
    <dgm:cxn modelId="{8D61C43C-5921-412A-83BC-C9D1EF6E22B8}" srcId="{9F238396-6902-4DFF-8C1D-E358B19B4CDB}" destId="{CF0967C8-E31E-483F-B066-2C2FBC0C7883}" srcOrd="8" destOrd="0" parTransId="{8884CD3F-B250-41FC-B1AF-A16CAA74FCF4}" sibTransId="{E0164FF4-77C4-4B49-851E-D517103C6171}"/>
    <dgm:cxn modelId="{1BE95569-CF28-492D-B00A-D6BD45011C80}" type="presOf" srcId="{B6E83ABC-0C75-4646-B377-5460A846C829}" destId="{AD0C95AC-4994-4041-A20B-2F8F95F8ADBC}" srcOrd="0" destOrd="0" presId="urn:microsoft.com/office/officeart/2005/8/layout/vList2"/>
    <dgm:cxn modelId="{08D44BC1-0116-4E0F-B97C-EE5D4DF288A1}" srcId="{9F238396-6902-4DFF-8C1D-E358B19B4CDB}" destId="{B6E83ABC-0C75-4646-B377-5460A846C829}" srcOrd="2" destOrd="0" parTransId="{43EAD024-6F7B-4739-863C-6EF3A1F4251E}" sibTransId="{F2BBEAC4-631C-4A05-9254-6EDF99AEDE86}"/>
    <dgm:cxn modelId="{E5E1C401-C858-4B69-BF99-77AF2ED876FD}" type="presOf" srcId="{0388E921-7FDB-478A-9C51-9CCB23DD649F}" destId="{4293BD6F-27C4-4556-ADD0-E14A479361F4}" srcOrd="0" destOrd="0" presId="urn:microsoft.com/office/officeart/2005/8/layout/vList2"/>
    <dgm:cxn modelId="{5AC7E404-CA1E-4250-8D59-00B4DCA692B0}" srcId="{9F238396-6902-4DFF-8C1D-E358B19B4CDB}" destId="{0AC3137B-0054-4592-8CFB-1BA2FF39C9AB}" srcOrd="1" destOrd="0" parTransId="{3E284F85-89A6-405B-8D4C-280454333159}" sibTransId="{4F087FDA-FF1E-498B-A5CD-646A5BA383F8}"/>
    <dgm:cxn modelId="{82BA4613-FB0D-40DD-B546-467A74296943}" srcId="{9F238396-6902-4DFF-8C1D-E358B19B4CDB}" destId="{E4C6DC35-A932-4DAC-9877-45466BD2CBA1}" srcOrd="3" destOrd="0" parTransId="{9C7CD79E-F6EB-4502-BB26-1696F9466568}" sibTransId="{C4226754-3EF5-4B45-AE27-FF4A189F1C23}"/>
    <dgm:cxn modelId="{2D876EBC-1FD1-41D7-9869-DD8F402F5A0E}" type="presOf" srcId="{76168F0E-5E21-4F0E-BE9C-017EABAA42EE}" destId="{9B00DABB-E506-486A-9F48-61FE6C39CA87}" srcOrd="0" destOrd="0" presId="urn:microsoft.com/office/officeart/2005/8/layout/vList2"/>
    <dgm:cxn modelId="{2EAA8898-353C-462E-BB57-E9DB042E3A25}" srcId="{9F238396-6902-4DFF-8C1D-E358B19B4CDB}" destId="{0388E921-7FDB-478A-9C51-9CCB23DD649F}" srcOrd="10" destOrd="0" parTransId="{E2DC88E6-6954-4BB0-BAEF-4EC96CB78F45}" sibTransId="{3942CC78-B07B-4B0D-90C0-02D6EF5409E3}"/>
    <dgm:cxn modelId="{14C67913-FCFC-4D6E-86EF-971413FFD80A}" srcId="{9F238396-6902-4DFF-8C1D-E358B19B4CDB}" destId="{CA78DB2F-CE7A-459A-BE77-95BC66E6DDCC}" srcOrd="4" destOrd="0" parTransId="{E91133E5-7AD1-4E2D-905B-B0BF47467141}" sibTransId="{720FDD1B-FB20-4B2A-9F39-16CDE1709954}"/>
    <dgm:cxn modelId="{3C2F8EAD-028D-41B4-BF96-316CA46860B4}" type="presOf" srcId="{E4C6DC35-A932-4DAC-9877-45466BD2CBA1}" destId="{0411D0A0-287F-43E2-B73E-A3200DF92774}" srcOrd="0" destOrd="0" presId="urn:microsoft.com/office/officeart/2005/8/layout/vList2"/>
    <dgm:cxn modelId="{652D2E10-602A-45EE-AEC5-9142661A69DC}" type="presOf" srcId="{9D981CB2-B60B-4CFE-8E50-CA8B419261B2}" destId="{418774BE-ECAD-4572-8421-F1BB3B861F06}" srcOrd="0" destOrd="0" presId="urn:microsoft.com/office/officeart/2005/8/layout/vList2"/>
    <dgm:cxn modelId="{B63B2FE0-8420-4E13-9536-E77A69D14364}" type="presOf" srcId="{CA78DB2F-CE7A-459A-BE77-95BC66E6DDCC}" destId="{E474C7D2-0CE2-4062-9B5B-9BBD30B84A5D}" srcOrd="0" destOrd="0" presId="urn:microsoft.com/office/officeart/2005/8/layout/vList2"/>
    <dgm:cxn modelId="{5FE81724-5A50-41E3-A6CA-19FAE5CE79FF}" type="presOf" srcId="{623C7163-34E5-49CD-83B9-8B8ABA7A5F71}" destId="{4012C59D-DC4C-4D32-94FD-469B19DC1685}" srcOrd="0" destOrd="0" presId="urn:microsoft.com/office/officeart/2005/8/layout/vList2"/>
    <dgm:cxn modelId="{C8E82C92-68AA-491F-BDB3-8A9C1CF02780}" srcId="{9F238396-6902-4DFF-8C1D-E358B19B4CDB}" destId="{195BEF80-E42B-457A-96C6-C1A814C6EB3E}" srcOrd="0" destOrd="0" parTransId="{D3C4A77D-3881-4462-907D-3FA796AEF77E}" sibTransId="{1D72118D-2582-44C1-88E5-4FE0BFEE0985}"/>
    <dgm:cxn modelId="{5AA18EDE-D2BD-4246-9585-C2FF1A11E998}" srcId="{9F238396-6902-4DFF-8C1D-E358B19B4CDB}" destId="{623C7163-34E5-49CD-83B9-8B8ABA7A5F71}" srcOrd="7" destOrd="0" parTransId="{537F8CDA-FA4A-4BCF-9748-BB6691E92A3B}" sibTransId="{290C3192-B6CE-4331-AB83-1A5402FE3439}"/>
    <dgm:cxn modelId="{48BF0140-A1CB-4F46-A7C5-826024C706C5}" srcId="{9F238396-6902-4DFF-8C1D-E358B19B4CDB}" destId="{76168F0E-5E21-4F0E-BE9C-017EABAA42EE}" srcOrd="6" destOrd="0" parTransId="{C481F749-9F24-4945-A7A9-36221E9DCA4F}" sibTransId="{6E6474C3-3044-48B4-89FC-DF4A4284862A}"/>
    <dgm:cxn modelId="{184CD80C-A695-4EC1-8B4B-AE6AA7AADB78}" srcId="{9F238396-6902-4DFF-8C1D-E358B19B4CDB}" destId="{6F3370B4-B6EE-4F23-BD91-CEDE867CC529}" srcOrd="9" destOrd="0" parTransId="{E1F5DFF5-E158-4004-B0F6-89D38468BA59}" sibTransId="{16252F5B-9280-4A76-9430-5061CBABCF42}"/>
    <dgm:cxn modelId="{7570BA52-A285-41DF-BC6C-3C724E936BEA}" srcId="{9F238396-6902-4DFF-8C1D-E358B19B4CDB}" destId="{9D981CB2-B60B-4CFE-8E50-CA8B419261B2}" srcOrd="5" destOrd="0" parTransId="{5104973F-994B-482D-BB4A-A21D46170B00}" sibTransId="{24C84273-F945-4172-B11D-F48A695F5682}"/>
    <dgm:cxn modelId="{770C5DB8-BE3C-4393-A283-B6A99C8F64F0}" type="presOf" srcId="{9F238396-6902-4DFF-8C1D-E358B19B4CDB}" destId="{1681888F-E8B8-425F-B655-D74550925476}" srcOrd="0" destOrd="0" presId="urn:microsoft.com/office/officeart/2005/8/layout/vList2"/>
    <dgm:cxn modelId="{5B93D0A7-8D60-464D-B5FD-553E3E6070AA}" type="presOf" srcId="{CF0967C8-E31E-483F-B066-2C2FBC0C7883}" destId="{3F8DB73C-6AF2-4994-9D01-679E12579E58}" srcOrd="0" destOrd="0" presId="urn:microsoft.com/office/officeart/2005/8/layout/vList2"/>
    <dgm:cxn modelId="{B37E8DC7-BD07-4A8B-B3A2-C6BF5E1B9812}" type="presParOf" srcId="{1681888F-E8B8-425F-B655-D74550925476}" destId="{94B02F39-DDC3-46F6-8923-1AEC94BD7144}" srcOrd="0" destOrd="0" presId="urn:microsoft.com/office/officeart/2005/8/layout/vList2"/>
    <dgm:cxn modelId="{3257D398-C996-4BFD-9000-5FAFA3787EB8}" type="presParOf" srcId="{1681888F-E8B8-425F-B655-D74550925476}" destId="{37458B01-2ED0-4688-97B9-83DCCEE555D9}" srcOrd="1" destOrd="0" presId="urn:microsoft.com/office/officeart/2005/8/layout/vList2"/>
    <dgm:cxn modelId="{558FE905-C573-465C-BE20-0B553FADCD94}" type="presParOf" srcId="{1681888F-E8B8-425F-B655-D74550925476}" destId="{1DF4BD19-CA46-4700-9C0C-EC3D3F872475}" srcOrd="2" destOrd="0" presId="urn:microsoft.com/office/officeart/2005/8/layout/vList2"/>
    <dgm:cxn modelId="{B79BC857-EF9D-4535-B1D4-98F1E41EA961}" type="presParOf" srcId="{1681888F-E8B8-425F-B655-D74550925476}" destId="{749363B0-ACE3-4986-BFB4-A9C0634F6801}" srcOrd="3" destOrd="0" presId="urn:microsoft.com/office/officeart/2005/8/layout/vList2"/>
    <dgm:cxn modelId="{38A080B8-D574-4382-8E0F-413DEC3C1204}" type="presParOf" srcId="{1681888F-E8B8-425F-B655-D74550925476}" destId="{AD0C95AC-4994-4041-A20B-2F8F95F8ADBC}" srcOrd="4" destOrd="0" presId="urn:microsoft.com/office/officeart/2005/8/layout/vList2"/>
    <dgm:cxn modelId="{327E5D96-4DAB-4A0D-93CD-FB6FE190FA83}" type="presParOf" srcId="{1681888F-E8B8-425F-B655-D74550925476}" destId="{717D416C-DFB8-4787-82FE-B8E1788AC7CE}" srcOrd="5" destOrd="0" presId="urn:microsoft.com/office/officeart/2005/8/layout/vList2"/>
    <dgm:cxn modelId="{2677DC20-39BC-4601-9EA2-79ECDF865FCE}" type="presParOf" srcId="{1681888F-E8B8-425F-B655-D74550925476}" destId="{0411D0A0-287F-43E2-B73E-A3200DF92774}" srcOrd="6" destOrd="0" presId="urn:microsoft.com/office/officeart/2005/8/layout/vList2"/>
    <dgm:cxn modelId="{567FD661-1670-4495-94CA-DEC0A68CB404}" type="presParOf" srcId="{1681888F-E8B8-425F-B655-D74550925476}" destId="{0B970020-4CBB-409C-ADE9-7BC366B37C2B}" srcOrd="7" destOrd="0" presId="urn:microsoft.com/office/officeart/2005/8/layout/vList2"/>
    <dgm:cxn modelId="{AD1C35AC-CD98-4EFE-9CF7-5BA266BDE972}" type="presParOf" srcId="{1681888F-E8B8-425F-B655-D74550925476}" destId="{E474C7D2-0CE2-4062-9B5B-9BBD30B84A5D}" srcOrd="8" destOrd="0" presId="urn:microsoft.com/office/officeart/2005/8/layout/vList2"/>
    <dgm:cxn modelId="{7119695D-4EE9-4BE9-993F-E02CBA87BA3A}" type="presParOf" srcId="{1681888F-E8B8-425F-B655-D74550925476}" destId="{32FC409E-9AC2-40AC-9A5E-355306F4DFAB}" srcOrd="9" destOrd="0" presId="urn:microsoft.com/office/officeart/2005/8/layout/vList2"/>
    <dgm:cxn modelId="{C0AB55CE-DE6A-4A94-B124-73A9922CC53B}" type="presParOf" srcId="{1681888F-E8B8-425F-B655-D74550925476}" destId="{418774BE-ECAD-4572-8421-F1BB3B861F06}" srcOrd="10" destOrd="0" presId="urn:microsoft.com/office/officeart/2005/8/layout/vList2"/>
    <dgm:cxn modelId="{FC07DE1E-D858-41D0-94D1-631DF7E1CDE9}" type="presParOf" srcId="{1681888F-E8B8-425F-B655-D74550925476}" destId="{2B59B684-B95C-4C30-9C63-EC41EEB35086}" srcOrd="11" destOrd="0" presId="urn:microsoft.com/office/officeart/2005/8/layout/vList2"/>
    <dgm:cxn modelId="{AA6C7780-6196-42CC-B603-96607069D3F1}" type="presParOf" srcId="{1681888F-E8B8-425F-B655-D74550925476}" destId="{9B00DABB-E506-486A-9F48-61FE6C39CA87}" srcOrd="12" destOrd="0" presId="urn:microsoft.com/office/officeart/2005/8/layout/vList2"/>
    <dgm:cxn modelId="{5DF7F224-0502-4577-B258-A51A498ACA85}" type="presParOf" srcId="{1681888F-E8B8-425F-B655-D74550925476}" destId="{AFB4FA84-A5C6-4EB9-9157-02AA682258B0}" srcOrd="13" destOrd="0" presId="urn:microsoft.com/office/officeart/2005/8/layout/vList2"/>
    <dgm:cxn modelId="{827A8B47-1ED8-4D93-9F05-F3A26339F944}" type="presParOf" srcId="{1681888F-E8B8-425F-B655-D74550925476}" destId="{4012C59D-DC4C-4D32-94FD-469B19DC1685}" srcOrd="14" destOrd="0" presId="urn:microsoft.com/office/officeart/2005/8/layout/vList2"/>
    <dgm:cxn modelId="{55DA555A-BEBC-4CB6-A323-44475E62DADC}" type="presParOf" srcId="{1681888F-E8B8-425F-B655-D74550925476}" destId="{09A2FCBD-C16E-4FFE-AB51-E5029D85535E}" srcOrd="15" destOrd="0" presId="urn:microsoft.com/office/officeart/2005/8/layout/vList2"/>
    <dgm:cxn modelId="{2921B715-3F11-4161-B346-112005D6D5C8}" type="presParOf" srcId="{1681888F-E8B8-425F-B655-D74550925476}" destId="{3F8DB73C-6AF2-4994-9D01-679E12579E58}" srcOrd="16" destOrd="0" presId="urn:microsoft.com/office/officeart/2005/8/layout/vList2"/>
    <dgm:cxn modelId="{F08316F0-5D4F-45C7-B9BD-B2A9634820D4}" type="presParOf" srcId="{1681888F-E8B8-425F-B655-D74550925476}" destId="{1FA1E3BB-443F-4C63-8B4D-2A3EFA909F0F}" srcOrd="17" destOrd="0" presId="urn:microsoft.com/office/officeart/2005/8/layout/vList2"/>
    <dgm:cxn modelId="{BB99BD5B-8667-4C81-A829-0B3E138BBA1E}" type="presParOf" srcId="{1681888F-E8B8-425F-B655-D74550925476}" destId="{B5CD0D20-11E7-43DD-A611-1D92AD3CBE24}" srcOrd="18" destOrd="0" presId="urn:microsoft.com/office/officeart/2005/8/layout/vList2"/>
    <dgm:cxn modelId="{DA0DEA9C-7AC7-4A10-B18F-615D4D6405B1}" type="presParOf" srcId="{1681888F-E8B8-425F-B655-D74550925476}" destId="{02252A89-D3E0-4B0E-A92D-F63DA29E9124}" srcOrd="19" destOrd="0" presId="urn:microsoft.com/office/officeart/2005/8/layout/vList2"/>
    <dgm:cxn modelId="{59B1FE5C-CDBD-4E10-98B7-2D4B805746C2}" type="presParOf" srcId="{1681888F-E8B8-425F-B655-D74550925476}" destId="{4293BD6F-27C4-4556-ADD0-E14A479361F4}" srcOrd="2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1A346B-5900-48BF-916C-C8CFF6C85E17}"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0CBAF0AB-7325-4FE2-8128-00203CF988F6}">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A5FE23FC-F972-4513-8351-D719C2271D95}" type="parTrans" cxnId="{F0A3585E-10BB-44ED-AA09-C1E0F1471B9E}">
      <dgm:prSet/>
      <dgm:spPr/>
      <dgm:t>
        <a:bodyPr/>
        <a:lstStyle/>
        <a:p>
          <a:endParaRPr lang="en-US"/>
        </a:p>
      </dgm:t>
    </dgm:pt>
    <dgm:pt modelId="{58833669-DA7D-46AC-8E3B-731E38A90CFC}" type="sibTrans" cxnId="{F0A3585E-10BB-44ED-AA09-C1E0F1471B9E}">
      <dgm:prSet/>
      <dgm:spPr/>
      <dgm:t>
        <a:bodyPr/>
        <a:lstStyle/>
        <a:p>
          <a:endParaRPr lang="en-US"/>
        </a:p>
      </dgm:t>
    </dgm:pt>
    <dgm:pt modelId="{3B5BF696-1AC9-4FAC-A307-D0D132A582ED}">
      <dgm:prSet/>
      <dgm:spPr/>
      <dgm:t>
        <a:bodyPr/>
        <a:lstStyle/>
        <a:p>
          <a:r>
            <a:rPr lang="en-US" dirty="0" smtClean="0"/>
            <a:t>Handles Schema Changes Well (easy development)</a:t>
          </a:r>
          <a:endParaRPr lang="en-US" dirty="0"/>
        </a:p>
      </dgm:t>
    </dgm:pt>
    <dgm:pt modelId="{D167D789-6ABB-4BE9-BB9F-42358054F8FB}" type="parTrans" cxnId="{973CBBED-74E5-4FBE-B860-9BCB78EC5732}">
      <dgm:prSet/>
      <dgm:spPr/>
      <dgm:t>
        <a:bodyPr/>
        <a:lstStyle/>
        <a:p>
          <a:endParaRPr lang="en-US"/>
        </a:p>
      </dgm:t>
    </dgm:pt>
    <dgm:pt modelId="{BC5DC534-E1D0-4F98-96FE-0541B228F61B}" type="sibTrans" cxnId="{973CBBED-74E5-4FBE-B860-9BCB78EC5732}">
      <dgm:prSet/>
      <dgm:spPr/>
      <dgm:t>
        <a:bodyPr/>
        <a:lstStyle/>
        <a:p>
          <a:endParaRPr lang="en-US"/>
        </a:p>
      </dgm:t>
    </dgm:pt>
    <dgm:pt modelId="{FE635B19-E443-4489-BDBC-7C4531AF23D3}">
      <dgm:prSet/>
      <dgm:spPr/>
      <dgm:t>
        <a:bodyPr/>
        <a:lstStyle/>
        <a:p>
          <a:endParaRPr lang="en-US" dirty="0" smtClean="0"/>
        </a:p>
      </dgm:t>
    </dgm:pt>
    <dgm:pt modelId="{7F32B900-2A4B-4567-84AC-4BAF99E04DCD}" type="parTrans" cxnId="{AB10982F-E57D-428A-8B13-6AD6B7D94873}">
      <dgm:prSet/>
      <dgm:spPr/>
      <dgm:t>
        <a:bodyPr/>
        <a:lstStyle/>
        <a:p>
          <a:endParaRPr lang="en-US"/>
        </a:p>
      </dgm:t>
    </dgm:pt>
    <dgm:pt modelId="{DD8059C1-3E7C-455C-8629-B50B5E2AD2F3}" type="sibTrans" cxnId="{AB10982F-E57D-428A-8B13-6AD6B7D94873}">
      <dgm:prSet/>
      <dgm:spPr/>
      <dgm:t>
        <a:bodyPr/>
        <a:lstStyle/>
        <a:p>
          <a:endParaRPr lang="en-US"/>
        </a:p>
      </dgm:t>
    </dgm:pt>
    <dgm:pt modelId="{E24B7B18-2594-4D65-A870-024F399D3EA1}">
      <dgm:prSet/>
      <dgm:spPr/>
      <dgm:t>
        <a:bodyPr/>
        <a:lstStyle/>
        <a:p>
          <a:r>
            <a:rPr lang="en-US" dirty="0" smtClean="0"/>
            <a:t>Solves Impedance Mismatch problem</a:t>
          </a:r>
        </a:p>
      </dgm:t>
    </dgm:pt>
    <dgm:pt modelId="{C3D7CC6F-A466-4B75-A22C-EA4726D1DBFD}" type="parTrans" cxnId="{CB448C5C-58FC-4A16-8ECA-54098DF77395}">
      <dgm:prSet/>
      <dgm:spPr/>
      <dgm:t>
        <a:bodyPr/>
        <a:lstStyle/>
        <a:p>
          <a:endParaRPr lang="en-US"/>
        </a:p>
      </dgm:t>
    </dgm:pt>
    <dgm:pt modelId="{926E0C9A-3E47-46FF-B256-58D2D25742A3}" type="sibTrans" cxnId="{CB448C5C-58FC-4A16-8ECA-54098DF77395}">
      <dgm:prSet/>
      <dgm:spPr/>
      <dgm:t>
        <a:bodyPr/>
        <a:lstStyle/>
        <a:p>
          <a:endParaRPr lang="en-US"/>
        </a:p>
      </dgm:t>
    </dgm:pt>
    <dgm:pt modelId="{671B5BEC-B57F-460C-BCDA-5FE4713CADAC}">
      <dgm:prSet/>
      <dgm:spPr/>
      <dgm:t>
        <a:bodyPr/>
        <a:lstStyle/>
        <a:p>
          <a:endParaRPr lang="en-US" dirty="0" smtClean="0"/>
        </a:p>
      </dgm:t>
    </dgm:pt>
    <dgm:pt modelId="{57B65EA2-C656-447A-867A-FB5FD5AEBCDA}" type="parTrans" cxnId="{BB3100A8-C80F-4D38-BAC9-C9F68681D1B4}">
      <dgm:prSet/>
      <dgm:spPr/>
      <dgm:t>
        <a:bodyPr/>
        <a:lstStyle/>
        <a:p>
          <a:endParaRPr lang="en-US"/>
        </a:p>
      </dgm:t>
    </dgm:pt>
    <dgm:pt modelId="{4679B9A8-F662-404A-93C8-74739A2526AF}" type="sibTrans" cxnId="{BB3100A8-C80F-4D38-BAC9-C9F68681D1B4}">
      <dgm:prSet/>
      <dgm:spPr/>
      <dgm:t>
        <a:bodyPr/>
        <a:lstStyle/>
        <a:p>
          <a:endParaRPr lang="en-US"/>
        </a:p>
      </dgm:t>
    </dgm:pt>
    <dgm:pt modelId="{6F84F3BB-70AC-4EAA-BC57-EE30859F546A}">
      <dgm:prSet/>
      <dgm:spPr/>
      <dgm:t>
        <a:bodyPr/>
        <a:lstStyle/>
        <a:p>
          <a:r>
            <a:rPr lang="en-US" dirty="0" smtClean="0"/>
            <a:t>Rise of JSON</a:t>
          </a:r>
        </a:p>
      </dgm:t>
    </dgm:pt>
    <dgm:pt modelId="{2D8AEF9B-46E8-4E2F-A854-5B06C508CE1C}" type="parTrans" cxnId="{5E378442-467B-4EF8-90E7-42D93D5B7BC7}">
      <dgm:prSet/>
      <dgm:spPr/>
      <dgm:t>
        <a:bodyPr/>
        <a:lstStyle/>
        <a:p>
          <a:endParaRPr lang="en-US"/>
        </a:p>
      </dgm:t>
    </dgm:pt>
    <dgm:pt modelId="{BA3DEF1D-102A-4BBD-A9A4-6D3A63F4242C}" type="sibTrans" cxnId="{5E378442-467B-4EF8-90E7-42D93D5B7BC7}">
      <dgm:prSet/>
      <dgm:spPr/>
      <dgm:t>
        <a:bodyPr/>
        <a:lstStyle/>
        <a:p>
          <a:endParaRPr lang="en-US"/>
        </a:p>
      </dgm:t>
    </dgm:pt>
    <dgm:pt modelId="{B8A8C9F7-AED5-4159-8059-79CE34C6238E}">
      <dgm:prSet/>
      <dgm:spPr/>
      <dgm:t>
        <a:bodyPr/>
        <a:lstStyle/>
        <a:p>
          <a:r>
            <a:rPr lang="en-US" dirty="0" smtClean="0"/>
            <a:t>python module: simplejson</a:t>
          </a:r>
          <a:endParaRPr lang="en-US" dirty="0"/>
        </a:p>
      </dgm:t>
    </dgm:pt>
    <dgm:pt modelId="{F99F1B26-CF9A-4799-A902-B879F32E4FCB}" type="parTrans" cxnId="{EB934B85-72C0-4576-95BE-81F18426C832}">
      <dgm:prSet/>
      <dgm:spPr/>
      <dgm:t>
        <a:bodyPr/>
        <a:lstStyle/>
        <a:p>
          <a:endParaRPr lang="en-US"/>
        </a:p>
      </dgm:t>
    </dgm:pt>
    <dgm:pt modelId="{ED85986D-AEBB-482D-A1BC-BAFA5D175972}" type="sibTrans" cxnId="{EB934B85-72C0-4576-95BE-81F18426C832}">
      <dgm:prSet/>
      <dgm:spPr/>
      <dgm:t>
        <a:bodyPr/>
        <a:lstStyle/>
        <a:p>
          <a:endParaRPr lang="en-US"/>
        </a:p>
      </dgm:t>
    </dgm:pt>
    <dgm:pt modelId="{7A54FFF6-F38D-437C-8597-40D1EEDDF2D6}" type="pres">
      <dgm:prSet presAssocID="{351A346B-5900-48BF-916C-C8CFF6C85E17}" presName="linear" presStyleCnt="0">
        <dgm:presLayoutVars>
          <dgm:dir/>
          <dgm:animLvl val="lvl"/>
          <dgm:resizeHandles val="exact"/>
        </dgm:presLayoutVars>
      </dgm:prSet>
      <dgm:spPr/>
      <dgm:t>
        <a:bodyPr/>
        <a:lstStyle/>
        <a:p>
          <a:endParaRPr lang="en-US"/>
        </a:p>
      </dgm:t>
    </dgm:pt>
    <dgm:pt modelId="{59E09E7C-5391-45BE-9350-4EE9AB964A1E}" type="pres">
      <dgm:prSet presAssocID="{0CBAF0AB-7325-4FE2-8128-00203CF988F6}" presName="parentLin" presStyleCnt="0"/>
      <dgm:spPr/>
    </dgm:pt>
    <dgm:pt modelId="{73FCB7EE-41C8-4019-A01E-BEB692FEE0DA}" type="pres">
      <dgm:prSet presAssocID="{0CBAF0AB-7325-4FE2-8128-00203CF988F6}" presName="parentLeftMargin" presStyleLbl="node1" presStyleIdx="0" presStyleCnt="1"/>
      <dgm:spPr/>
      <dgm:t>
        <a:bodyPr/>
        <a:lstStyle/>
        <a:p>
          <a:endParaRPr lang="en-US"/>
        </a:p>
      </dgm:t>
    </dgm:pt>
    <dgm:pt modelId="{956B3F3D-B30E-40CD-868D-C92850D933B0}" type="pres">
      <dgm:prSet presAssocID="{0CBAF0AB-7325-4FE2-8128-00203CF988F6}" presName="parentText" presStyleLbl="node1" presStyleIdx="0" presStyleCnt="1" custScaleY="488730" custLinFactNeighborX="4266" custLinFactNeighborY="-28274">
        <dgm:presLayoutVars>
          <dgm:chMax val="0"/>
          <dgm:bulletEnabled val="1"/>
        </dgm:presLayoutVars>
      </dgm:prSet>
      <dgm:spPr/>
      <dgm:t>
        <a:bodyPr/>
        <a:lstStyle/>
        <a:p>
          <a:endParaRPr lang="en-US"/>
        </a:p>
      </dgm:t>
    </dgm:pt>
    <dgm:pt modelId="{9AF6BDD6-72E1-41C9-8452-4A403556DE5A}" type="pres">
      <dgm:prSet presAssocID="{0CBAF0AB-7325-4FE2-8128-00203CF988F6}" presName="negativeSpace" presStyleCnt="0"/>
      <dgm:spPr/>
    </dgm:pt>
    <dgm:pt modelId="{DDF76267-E1A9-4A2D-9999-6863052E6592}" type="pres">
      <dgm:prSet presAssocID="{0CBAF0AB-7325-4FE2-8128-00203CF988F6}" presName="childText" presStyleLbl="conFgAcc1" presStyleIdx="0" presStyleCnt="1">
        <dgm:presLayoutVars>
          <dgm:bulletEnabled val="1"/>
        </dgm:presLayoutVars>
      </dgm:prSet>
      <dgm:spPr/>
      <dgm:t>
        <a:bodyPr/>
        <a:lstStyle/>
        <a:p>
          <a:endParaRPr lang="en-US"/>
        </a:p>
      </dgm:t>
    </dgm:pt>
  </dgm:ptLst>
  <dgm:cxnLst>
    <dgm:cxn modelId="{5E378442-467B-4EF8-90E7-42D93D5B7BC7}" srcId="{0CBAF0AB-7325-4FE2-8128-00203CF988F6}" destId="{6F84F3BB-70AC-4EAA-BC57-EE30859F546A}" srcOrd="4" destOrd="0" parTransId="{2D8AEF9B-46E8-4E2F-A854-5B06C508CE1C}" sibTransId="{BA3DEF1D-102A-4BBD-A9A4-6D3A63F4242C}"/>
    <dgm:cxn modelId="{7EE009B2-F8BF-40F6-9756-570295E99B26}" type="presOf" srcId="{671B5BEC-B57F-460C-BCDA-5FE4713CADAC}" destId="{DDF76267-E1A9-4A2D-9999-6863052E6592}" srcOrd="0" destOrd="3" presId="urn:microsoft.com/office/officeart/2005/8/layout/list1"/>
    <dgm:cxn modelId="{62B9886C-D2FB-4F82-9F5B-70C50ABCB756}" type="presOf" srcId="{351A346B-5900-48BF-916C-C8CFF6C85E17}" destId="{7A54FFF6-F38D-437C-8597-40D1EEDDF2D6}" srcOrd="0" destOrd="0" presId="urn:microsoft.com/office/officeart/2005/8/layout/list1"/>
    <dgm:cxn modelId="{CB448C5C-58FC-4A16-8ECA-54098DF77395}" srcId="{0CBAF0AB-7325-4FE2-8128-00203CF988F6}" destId="{E24B7B18-2594-4D65-A870-024F399D3EA1}" srcOrd="2" destOrd="0" parTransId="{C3D7CC6F-A466-4B75-A22C-EA4726D1DBFD}" sibTransId="{926E0C9A-3E47-46FF-B256-58D2D25742A3}"/>
    <dgm:cxn modelId="{973CBBED-74E5-4FBE-B860-9BCB78EC5732}" srcId="{0CBAF0AB-7325-4FE2-8128-00203CF988F6}" destId="{3B5BF696-1AC9-4FAC-A307-D0D132A582ED}" srcOrd="0" destOrd="0" parTransId="{D167D789-6ABB-4BE9-BB9F-42358054F8FB}" sibTransId="{BC5DC534-E1D0-4F98-96FE-0541B228F61B}"/>
    <dgm:cxn modelId="{E35B0E4D-E7CF-45D1-887F-1702C0D2F6F1}" type="presOf" srcId="{B8A8C9F7-AED5-4159-8059-79CE34C6238E}" destId="{DDF76267-E1A9-4A2D-9999-6863052E6592}" srcOrd="0" destOrd="5" presId="urn:microsoft.com/office/officeart/2005/8/layout/list1"/>
    <dgm:cxn modelId="{DBCCB0C2-9E6E-4586-A587-516CEE4D932D}" type="presOf" srcId="{6F84F3BB-70AC-4EAA-BC57-EE30859F546A}" destId="{DDF76267-E1A9-4A2D-9999-6863052E6592}" srcOrd="0" destOrd="4" presId="urn:microsoft.com/office/officeart/2005/8/layout/list1"/>
    <dgm:cxn modelId="{8A8B9DC6-188D-4503-9FCC-19778AF9E5F1}" type="presOf" srcId="{3B5BF696-1AC9-4FAC-A307-D0D132A582ED}" destId="{DDF76267-E1A9-4A2D-9999-6863052E6592}" srcOrd="0" destOrd="0" presId="urn:microsoft.com/office/officeart/2005/8/layout/list1"/>
    <dgm:cxn modelId="{EB934B85-72C0-4576-95BE-81F18426C832}" srcId="{6F84F3BB-70AC-4EAA-BC57-EE30859F546A}" destId="{B8A8C9F7-AED5-4159-8059-79CE34C6238E}" srcOrd="0" destOrd="0" parTransId="{F99F1B26-CF9A-4799-A902-B879F32E4FCB}" sibTransId="{ED85986D-AEBB-482D-A1BC-BAFA5D175972}"/>
    <dgm:cxn modelId="{F0A3585E-10BB-44ED-AA09-C1E0F1471B9E}" srcId="{351A346B-5900-48BF-916C-C8CFF6C85E17}" destId="{0CBAF0AB-7325-4FE2-8128-00203CF988F6}" srcOrd="0" destOrd="0" parTransId="{A5FE23FC-F972-4513-8351-D719C2271D95}" sibTransId="{58833669-DA7D-46AC-8E3B-731E38A90CFC}"/>
    <dgm:cxn modelId="{90B711B3-8AEE-42B5-B8DD-3AD4FD60AC91}" type="presOf" srcId="{E24B7B18-2594-4D65-A870-024F399D3EA1}" destId="{DDF76267-E1A9-4A2D-9999-6863052E6592}" srcOrd="0" destOrd="2" presId="urn:microsoft.com/office/officeart/2005/8/layout/list1"/>
    <dgm:cxn modelId="{F096800C-BABC-42C1-9A31-3A23A455A003}" type="presOf" srcId="{0CBAF0AB-7325-4FE2-8128-00203CF988F6}" destId="{73FCB7EE-41C8-4019-A01E-BEB692FEE0DA}" srcOrd="0" destOrd="0" presId="urn:microsoft.com/office/officeart/2005/8/layout/list1"/>
    <dgm:cxn modelId="{38F8D2CC-0BFC-413C-AB60-A0AAE3E08A84}" type="presOf" srcId="{FE635B19-E443-4489-BDBC-7C4531AF23D3}" destId="{DDF76267-E1A9-4A2D-9999-6863052E6592}" srcOrd="0" destOrd="1" presId="urn:microsoft.com/office/officeart/2005/8/layout/list1"/>
    <dgm:cxn modelId="{BB3100A8-C80F-4D38-BAC9-C9F68681D1B4}" srcId="{0CBAF0AB-7325-4FE2-8128-00203CF988F6}" destId="{671B5BEC-B57F-460C-BCDA-5FE4713CADAC}" srcOrd="3" destOrd="0" parTransId="{57B65EA2-C656-447A-867A-FB5FD5AEBCDA}" sibTransId="{4679B9A8-F662-404A-93C8-74739A2526AF}"/>
    <dgm:cxn modelId="{AB10982F-E57D-428A-8B13-6AD6B7D94873}" srcId="{0CBAF0AB-7325-4FE2-8128-00203CF988F6}" destId="{FE635B19-E443-4489-BDBC-7C4531AF23D3}" srcOrd="1" destOrd="0" parTransId="{7F32B900-2A4B-4567-84AC-4BAF99E04DCD}" sibTransId="{DD8059C1-3E7C-455C-8629-B50B5E2AD2F3}"/>
    <dgm:cxn modelId="{F48A76CE-045B-4988-9905-54B25907AE0A}" type="presOf" srcId="{0CBAF0AB-7325-4FE2-8128-00203CF988F6}" destId="{956B3F3D-B30E-40CD-868D-C92850D933B0}" srcOrd="1" destOrd="0" presId="urn:microsoft.com/office/officeart/2005/8/layout/list1"/>
    <dgm:cxn modelId="{2A7EEA77-4FA7-42EB-84B8-8C3EDEC261D7}" type="presParOf" srcId="{7A54FFF6-F38D-437C-8597-40D1EEDDF2D6}" destId="{59E09E7C-5391-45BE-9350-4EE9AB964A1E}" srcOrd="0" destOrd="0" presId="urn:microsoft.com/office/officeart/2005/8/layout/list1"/>
    <dgm:cxn modelId="{952C8113-83BE-4956-B338-519562559D88}" type="presParOf" srcId="{59E09E7C-5391-45BE-9350-4EE9AB964A1E}" destId="{73FCB7EE-41C8-4019-A01E-BEB692FEE0DA}" srcOrd="0" destOrd="0" presId="urn:microsoft.com/office/officeart/2005/8/layout/list1"/>
    <dgm:cxn modelId="{DDD66D42-2257-430F-A3BC-1472E5AB0284}" type="presParOf" srcId="{59E09E7C-5391-45BE-9350-4EE9AB964A1E}" destId="{956B3F3D-B30E-40CD-868D-C92850D933B0}" srcOrd="1" destOrd="0" presId="urn:microsoft.com/office/officeart/2005/8/layout/list1"/>
    <dgm:cxn modelId="{DD9FF586-FC18-4FE7-9A58-4D882D434499}" type="presParOf" srcId="{7A54FFF6-F38D-437C-8597-40D1EEDDF2D6}" destId="{9AF6BDD6-72E1-41C9-8452-4A403556DE5A}" srcOrd="1" destOrd="0" presId="urn:microsoft.com/office/officeart/2005/8/layout/list1"/>
    <dgm:cxn modelId="{EDFF58CA-26EB-4511-81F1-7C1CF28961ED}" type="presParOf" srcId="{7A54FFF6-F38D-437C-8597-40D1EEDDF2D6}" destId="{DDF76267-E1A9-4A2D-9999-6863052E6592}"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6BB649F-D39D-4E84-BB0E-FB6252A68DDC}" type="doc">
      <dgm:prSet loTypeId="urn:microsoft.com/office/officeart/2005/8/layout/vList2" loCatId="list" qsTypeId="urn:microsoft.com/office/officeart/2005/8/quickstyle/simple1" qsCatId="simple" csTypeId="urn:microsoft.com/office/officeart/2005/8/colors/accent5_1" csCatId="accent5" phldr="1"/>
      <dgm:spPr/>
    </dgm:pt>
    <dgm:pt modelId="{0661D842-EA16-4633-BDBF-91F5E8A032B7}">
      <dgm:prSet phldrT="[Text]" custT="1"/>
      <dgm:spPr>
        <a:xfrm>
          <a:off x="2678" y="860722"/>
          <a:ext cx="2342554" cy="2342554"/>
        </a:xfrm>
      </dgm:spPr>
      <dgm:t>
        <a:bodyPr/>
        <a:lstStyle/>
        <a:p>
          <a:r>
            <a:rPr lang="en-US" sz="2000" dirty="0" smtClean="0">
              <a:latin typeface="Arial"/>
              <a:ea typeface="+mn-ea"/>
              <a:cs typeface="+mn-cs"/>
            </a:rPr>
            <a:t>Each record: UserID1, UserID2 </a:t>
          </a:r>
          <a:endParaRPr lang="en-US" sz="2000" dirty="0">
            <a:latin typeface="Arial"/>
            <a:ea typeface="+mn-ea"/>
            <a:cs typeface="+mn-cs"/>
          </a:endParaRPr>
        </a:p>
      </dgm:t>
    </dgm:pt>
    <dgm:pt modelId="{870C4F21-C2ED-4A47-8B11-0CE3D472E8A0}" type="parTrans" cxnId="{410E9AB8-E8F5-4FB6-9046-4D8A7BBEFB23}">
      <dgm:prSet/>
      <dgm:spPr/>
      <dgm:t>
        <a:bodyPr/>
        <a:lstStyle/>
        <a:p>
          <a:endParaRPr lang="en-US" sz="2000"/>
        </a:p>
      </dgm:t>
    </dgm:pt>
    <dgm:pt modelId="{D0057D20-0D06-4853-AEC8-1D95DE86E098}" type="sibTrans" cxnId="{410E9AB8-E8F5-4FB6-9046-4D8A7BBEFB23}">
      <dgm:prSet/>
      <dgm:spPr/>
      <dgm:t>
        <a:bodyPr/>
        <a:lstStyle/>
        <a:p>
          <a:endParaRPr lang="en-US" sz="2000"/>
        </a:p>
      </dgm:t>
    </dgm:pt>
    <dgm:pt modelId="{F339A4EC-AE9C-43D9-B65B-727372268311}">
      <dgm:prSet phldrT="[Text]" custT="1"/>
      <dgm:spPr>
        <a:xfrm>
          <a:off x="1876722" y="860722"/>
          <a:ext cx="2342554" cy="2342554"/>
        </a:xfrm>
      </dgm:spPr>
      <dgm:t>
        <a:bodyPr/>
        <a:lstStyle/>
        <a:p>
          <a:r>
            <a:rPr lang="en-US" sz="2000" dirty="0" smtClean="0">
              <a:latin typeface="Arial"/>
              <a:ea typeface="+mn-ea"/>
              <a:cs typeface="+mn-cs"/>
            </a:rPr>
            <a:t>Separate records: UserID, first_name,last_name, age, gender,... </a:t>
          </a:r>
          <a:endParaRPr lang="en-US" sz="2000" dirty="0">
            <a:latin typeface="Arial"/>
            <a:ea typeface="+mn-ea"/>
            <a:cs typeface="+mn-cs"/>
          </a:endParaRPr>
        </a:p>
      </dgm:t>
    </dgm:pt>
    <dgm:pt modelId="{8AA04067-1F12-4D93-B116-9470A8DE5BF1}" type="parTrans" cxnId="{71084DAA-E333-461E-B1BB-AFE76F487A03}">
      <dgm:prSet/>
      <dgm:spPr/>
      <dgm:t>
        <a:bodyPr/>
        <a:lstStyle/>
        <a:p>
          <a:endParaRPr lang="en-US" sz="2000"/>
        </a:p>
      </dgm:t>
    </dgm:pt>
    <dgm:pt modelId="{12B78984-567B-4E79-8CE9-757B9247A86B}" type="sibTrans" cxnId="{71084DAA-E333-461E-B1BB-AFE76F487A03}">
      <dgm:prSet/>
      <dgm:spPr/>
      <dgm:t>
        <a:bodyPr/>
        <a:lstStyle/>
        <a:p>
          <a:endParaRPr lang="en-US" sz="2000"/>
        </a:p>
      </dgm:t>
    </dgm:pt>
    <dgm:pt modelId="{8C963F5C-1A9D-402A-809C-8F68F2C18814}">
      <dgm:prSet phldrT="[Text]" custT="1"/>
      <dgm:spPr>
        <a:xfrm>
          <a:off x="3750766" y="860722"/>
          <a:ext cx="2342554" cy="2342554"/>
        </a:xfrm>
      </dgm:spPr>
      <dgm:t>
        <a:bodyPr/>
        <a:lstStyle/>
        <a:p>
          <a:r>
            <a:rPr lang="en-US" sz="2000" dirty="0" smtClean="0">
              <a:latin typeface="Arial"/>
              <a:ea typeface="+mn-ea"/>
              <a:cs typeface="+mn-cs"/>
            </a:rPr>
            <a:t>Task: Find all friends of friends of friends of ... friends of a given user</a:t>
          </a:r>
          <a:endParaRPr lang="en-US" sz="2000" dirty="0">
            <a:latin typeface="Arial"/>
            <a:ea typeface="+mn-ea"/>
            <a:cs typeface="+mn-cs"/>
          </a:endParaRPr>
        </a:p>
      </dgm:t>
    </dgm:pt>
    <dgm:pt modelId="{FD063165-8B8C-4675-9AC3-BCE50B134449}" type="parTrans" cxnId="{D1D3B9A2-A519-4EDF-92D7-E16F6A2AC3CD}">
      <dgm:prSet/>
      <dgm:spPr/>
      <dgm:t>
        <a:bodyPr/>
        <a:lstStyle/>
        <a:p>
          <a:endParaRPr lang="en-US" sz="2000"/>
        </a:p>
      </dgm:t>
    </dgm:pt>
    <dgm:pt modelId="{6FD969B5-3EEA-4D27-8095-1E36CDA5A991}" type="sibTrans" cxnId="{D1D3B9A2-A519-4EDF-92D7-E16F6A2AC3CD}">
      <dgm:prSet/>
      <dgm:spPr/>
      <dgm:t>
        <a:bodyPr/>
        <a:lstStyle/>
        <a:p>
          <a:endParaRPr lang="en-US" sz="2000"/>
        </a:p>
      </dgm:t>
    </dgm:pt>
    <dgm:pt modelId="{5AE95BBC-D625-4ADB-A060-D640640F4942}" type="pres">
      <dgm:prSet presAssocID="{46BB649F-D39D-4E84-BB0E-FB6252A68DDC}" presName="linear" presStyleCnt="0">
        <dgm:presLayoutVars>
          <dgm:animLvl val="lvl"/>
          <dgm:resizeHandles val="exact"/>
        </dgm:presLayoutVars>
      </dgm:prSet>
      <dgm:spPr/>
    </dgm:pt>
    <dgm:pt modelId="{812C13EA-55F6-4063-9B60-20793AD93170}" type="pres">
      <dgm:prSet presAssocID="{0661D842-EA16-4633-BDBF-91F5E8A032B7}" presName="parentText" presStyleLbl="node1" presStyleIdx="0" presStyleCnt="3">
        <dgm:presLayoutVars>
          <dgm:chMax val="0"/>
          <dgm:bulletEnabled val="1"/>
        </dgm:presLayoutVars>
      </dgm:prSet>
      <dgm:spPr>
        <a:prstGeom prst="rect">
          <a:avLst/>
        </a:prstGeom>
      </dgm:spPr>
      <dgm:t>
        <a:bodyPr/>
        <a:lstStyle/>
        <a:p>
          <a:endParaRPr lang="en-US"/>
        </a:p>
      </dgm:t>
    </dgm:pt>
    <dgm:pt modelId="{A41ACDD0-8D02-4F72-A32F-FC4C5F34A0D6}" type="pres">
      <dgm:prSet presAssocID="{D0057D20-0D06-4853-AEC8-1D95DE86E098}" presName="spacer" presStyleCnt="0"/>
      <dgm:spPr/>
    </dgm:pt>
    <dgm:pt modelId="{86BAFAAD-AB8D-409C-AD7E-123F3C1E22EC}" type="pres">
      <dgm:prSet presAssocID="{F339A4EC-AE9C-43D9-B65B-727372268311}" presName="parentText" presStyleLbl="node1" presStyleIdx="1" presStyleCnt="3">
        <dgm:presLayoutVars>
          <dgm:chMax val="0"/>
          <dgm:bulletEnabled val="1"/>
        </dgm:presLayoutVars>
      </dgm:prSet>
      <dgm:spPr>
        <a:prstGeom prst="rect">
          <a:avLst/>
        </a:prstGeom>
      </dgm:spPr>
      <dgm:t>
        <a:bodyPr/>
        <a:lstStyle/>
        <a:p>
          <a:endParaRPr lang="en-US"/>
        </a:p>
      </dgm:t>
    </dgm:pt>
    <dgm:pt modelId="{3D4DF4E0-6F5E-4F63-A821-3E6A97652470}" type="pres">
      <dgm:prSet presAssocID="{12B78984-567B-4E79-8CE9-757B9247A86B}" presName="spacer" presStyleCnt="0"/>
      <dgm:spPr/>
    </dgm:pt>
    <dgm:pt modelId="{5F91ECE9-DF8C-40AB-B8AD-8F9205778B4D}" type="pres">
      <dgm:prSet presAssocID="{8C963F5C-1A9D-402A-809C-8F68F2C18814}" presName="parentText" presStyleLbl="node1" presStyleIdx="2" presStyleCnt="3">
        <dgm:presLayoutVars>
          <dgm:chMax val="0"/>
          <dgm:bulletEnabled val="1"/>
        </dgm:presLayoutVars>
      </dgm:prSet>
      <dgm:spPr>
        <a:prstGeom prst="rect">
          <a:avLst/>
        </a:prstGeom>
      </dgm:spPr>
      <dgm:t>
        <a:bodyPr/>
        <a:lstStyle/>
        <a:p>
          <a:endParaRPr lang="en-US"/>
        </a:p>
      </dgm:t>
    </dgm:pt>
  </dgm:ptLst>
  <dgm:cxnLst>
    <dgm:cxn modelId="{5BA99F00-2C18-4D9E-A3C0-586CED696ADD}" type="presOf" srcId="{8C963F5C-1A9D-402A-809C-8F68F2C18814}" destId="{5F91ECE9-DF8C-40AB-B8AD-8F9205778B4D}" srcOrd="0" destOrd="0" presId="urn:microsoft.com/office/officeart/2005/8/layout/vList2"/>
    <dgm:cxn modelId="{AF94EA2B-1A27-4CCC-A52B-F40E0348611D}" type="presOf" srcId="{F339A4EC-AE9C-43D9-B65B-727372268311}" destId="{86BAFAAD-AB8D-409C-AD7E-123F3C1E22EC}" srcOrd="0" destOrd="0" presId="urn:microsoft.com/office/officeart/2005/8/layout/vList2"/>
    <dgm:cxn modelId="{71084DAA-E333-461E-B1BB-AFE76F487A03}" srcId="{46BB649F-D39D-4E84-BB0E-FB6252A68DDC}" destId="{F339A4EC-AE9C-43D9-B65B-727372268311}" srcOrd="1" destOrd="0" parTransId="{8AA04067-1F12-4D93-B116-9470A8DE5BF1}" sibTransId="{12B78984-567B-4E79-8CE9-757B9247A86B}"/>
    <dgm:cxn modelId="{410E9AB8-E8F5-4FB6-9046-4D8A7BBEFB23}" srcId="{46BB649F-D39D-4E84-BB0E-FB6252A68DDC}" destId="{0661D842-EA16-4633-BDBF-91F5E8A032B7}" srcOrd="0" destOrd="0" parTransId="{870C4F21-C2ED-4A47-8B11-0CE3D472E8A0}" sibTransId="{D0057D20-0D06-4853-AEC8-1D95DE86E098}"/>
    <dgm:cxn modelId="{D1D3B9A2-A519-4EDF-92D7-E16F6A2AC3CD}" srcId="{46BB649F-D39D-4E84-BB0E-FB6252A68DDC}" destId="{8C963F5C-1A9D-402A-809C-8F68F2C18814}" srcOrd="2" destOrd="0" parTransId="{FD063165-8B8C-4675-9AC3-BCE50B134449}" sibTransId="{6FD969B5-3EEA-4D27-8095-1E36CDA5A991}"/>
    <dgm:cxn modelId="{FA7646DF-6072-4D77-AE42-3AE129F7519F}" type="presOf" srcId="{0661D842-EA16-4633-BDBF-91F5E8A032B7}" destId="{812C13EA-55F6-4063-9B60-20793AD93170}" srcOrd="0" destOrd="0" presId="urn:microsoft.com/office/officeart/2005/8/layout/vList2"/>
    <dgm:cxn modelId="{27F0FA08-6F3F-4834-981D-4388CCFC1BB3}" type="presOf" srcId="{46BB649F-D39D-4E84-BB0E-FB6252A68DDC}" destId="{5AE95BBC-D625-4ADB-A060-D640640F4942}" srcOrd="0" destOrd="0" presId="urn:microsoft.com/office/officeart/2005/8/layout/vList2"/>
    <dgm:cxn modelId="{C87284AD-7916-4F9D-9212-55989E19B8A9}" type="presParOf" srcId="{5AE95BBC-D625-4ADB-A060-D640640F4942}" destId="{812C13EA-55F6-4063-9B60-20793AD93170}" srcOrd="0" destOrd="0" presId="urn:microsoft.com/office/officeart/2005/8/layout/vList2"/>
    <dgm:cxn modelId="{793AC224-EB13-465C-8ACC-405827D79650}" type="presParOf" srcId="{5AE95BBC-D625-4ADB-A060-D640640F4942}" destId="{A41ACDD0-8D02-4F72-A32F-FC4C5F34A0D6}" srcOrd="1" destOrd="0" presId="urn:microsoft.com/office/officeart/2005/8/layout/vList2"/>
    <dgm:cxn modelId="{BA5B0C52-52F2-48A4-AF92-DE1D5CC5CA84}" type="presParOf" srcId="{5AE95BBC-D625-4ADB-A060-D640640F4942}" destId="{86BAFAAD-AB8D-409C-AD7E-123F3C1E22EC}" srcOrd="2" destOrd="0" presId="urn:microsoft.com/office/officeart/2005/8/layout/vList2"/>
    <dgm:cxn modelId="{7B6FE2A0-36D5-4725-B21F-A597BF176690}" type="presParOf" srcId="{5AE95BBC-D625-4ADB-A060-D640640F4942}" destId="{3D4DF4E0-6F5E-4F63-A821-3E6A97652470}" srcOrd="3" destOrd="0" presId="urn:microsoft.com/office/officeart/2005/8/layout/vList2"/>
    <dgm:cxn modelId="{70E6F76E-C0EB-49AC-B499-68000DD24F00}" type="presParOf" srcId="{5AE95BBC-D625-4ADB-A060-D640640F4942}" destId="{5F91ECE9-DF8C-40AB-B8AD-8F9205778B4D}"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48487F6-8A07-4A40-A9CB-5C0C2B234A32}" type="doc">
      <dgm:prSet loTypeId="urn:microsoft.com/office/officeart/2005/8/layout/gear1" loCatId="process" qsTypeId="urn:microsoft.com/office/officeart/2005/8/quickstyle/simple1" qsCatId="simple" csTypeId="urn:microsoft.com/office/officeart/2005/8/colors/accent5_1" csCatId="accent5" phldr="1"/>
      <dgm:spPr/>
    </dgm:pt>
    <dgm:pt modelId="{4543F3C9-B60B-4617-886E-2B58D2FE22A0}">
      <dgm:prSet phldrT="[Text]"/>
      <dgm:spPr/>
      <dgm:t>
        <a:bodyPr/>
        <a:lstStyle/>
        <a:p>
          <a:r>
            <a:rPr lang="en-US" dirty="0" smtClean="0"/>
            <a:t>Task: Retrieve all pages regarding athletics of Summer Olympic before 1950</a:t>
          </a:r>
          <a:endParaRPr lang="en-US" dirty="0"/>
        </a:p>
      </dgm:t>
    </dgm:pt>
    <dgm:pt modelId="{F6113107-689E-4DE6-86AE-F94EF8EBA664}" type="parTrans" cxnId="{9FE3165A-A03F-4323-AB51-6B4743767DCD}">
      <dgm:prSet/>
      <dgm:spPr/>
      <dgm:t>
        <a:bodyPr/>
        <a:lstStyle/>
        <a:p>
          <a:endParaRPr lang="en-US"/>
        </a:p>
      </dgm:t>
    </dgm:pt>
    <dgm:pt modelId="{6C2E1C86-F30B-4F74-BC61-CA24B485B609}" type="sibTrans" cxnId="{9FE3165A-A03F-4323-AB51-6B4743767DCD}">
      <dgm:prSet/>
      <dgm:spPr/>
      <dgm:t>
        <a:bodyPr/>
        <a:lstStyle/>
        <a:p>
          <a:endParaRPr lang="en-US"/>
        </a:p>
      </dgm:t>
    </dgm:pt>
    <dgm:pt modelId="{9EF37654-B62C-4365-BB3C-78BC944564A3}">
      <dgm:prSet phldrT="[Text]"/>
      <dgm:spPr/>
      <dgm:t>
        <a:bodyPr/>
        <a:lstStyle/>
        <a:p>
          <a:r>
            <a:rPr lang="en-US" dirty="0" smtClean="0"/>
            <a:t>Combination of structured and unstructured data</a:t>
          </a:r>
          <a:endParaRPr lang="en-US" dirty="0"/>
        </a:p>
      </dgm:t>
    </dgm:pt>
    <dgm:pt modelId="{296CFE4D-1632-44F0-A55A-5D197CF509FE}" type="parTrans" cxnId="{E9926744-C518-4B76-BED4-C35DE9B44F3F}">
      <dgm:prSet/>
      <dgm:spPr/>
      <dgm:t>
        <a:bodyPr/>
        <a:lstStyle/>
        <a:p>
          <a:endParaRPr lang="en-US"/>
        </a:p>
      </dgm:t>
    </dgm:pt>
    <dgm:pt modelId="{00DE896F-D056-48F9-B1E0-699066460504}" type="sibTrans" cxnId="{E9926744-C518-4B76-BED4-C35DE9B44F3F}">
      <dgm:prSet/>
      <dgm:spPr/>
      <dgm:t>
        <a:bodyPr/>
        <a:lstStyle/>
        <a:p>
          <a:endParaRPr lang="en-US"/>
        </a:p>
      </dgm:t>
    </dgm:pt>
    <dgm:pt modelId="{B3915B2B-0177-4A41-A1CD-C913A337E0AF}">
      <dgm:prSet phldrT="[Text]"/>
      <dgm:spPr/>
      <dgm:t>
        <a:bodyPr/>
        <a:lstStyle/>
        <a:p>
          <a:r>
            <a:rPr lang="en-US" dirty="0" smtClean="0"/>
            <a:t>Large collection of documents</a:t>
          </a:r>
          <a:endParaRPr lang="en-US" dirty="0"/>
        </a:p>
      </dgm:t>
    </dgm:pt>
    <dgm:pt modelId="{EC83CF1E-C520-498B-9DE4-3F19A7EE06FA}" type="parTrans" cxnId="{684D0644-058C-46B7-AC13-EDCA952385EA}">
      <dgm:prSet/>
      <dgm:spPr/>
      <dgm:t>
        <a:bodyPr/>
        <a:lstStyle/>
        <a:p>
          <a:endParaRPr lang="en-US"/>
        </a:p>
      </dgm:t>
    </dgm:pt>
    <dgm:pt modelId="{272BE810-18B3-49C0-9DBF-B90FFB82D58D}" type="sibTrans" cxnId="{684D0644-058C-46B7-AC13-EDCA952385EA}">
      <dgm:prSet/>
      <dgm:spPr/>
      <dgm:t>
        <a:bodyPr/>
        <a:lstStyle/>
        <a:p>
          <a:endParaRPr lang="en-US"/>
        </a:p>
      </dgm:t>
    </dgm:pt>
    <dgm:pt modelId="{06E86DF2-D88C-46FF-9755-BEA23742E7F3}" type="pres">
      <dgm:prSet presAssocID="{C48487F6-8A07-4A40-A9CB-5C0C2B234A32}" presName="composite" presStyleCnt="0">
        <dgm:presLayoutVars>
          <dgm:chMax val="3"/>
          <dgm:animLvl val="lvl"/>
          <dgm:resizeHandles val="exact"/>
        </dgm:presLayoutVars>
      </dgm:prSet>
      <dgm:spPr/>
    </dgm:pt>
    <dgm:pt modelId="{5C836F42-B3FA-4EA2-A91E-D69EBB69DEE4}" type="pres">
      <dgm:prSet presAssocID="{4543F3C9-B60B-4617-886E-2B58D2FE22A0}" presName="gear1" presStyleLbl="node1" presStyleIdx="0" presStyleCnt="3">
        <dgm:presLayoutVars>
          <dgm:chMax val="1"/>
          <dgm:bulletEnabled val="1"/>
        </dgm:presLayoutVars>
      </dgm:prSet>
      <dgm:spPr/>
      <dgm:t>
        <a:bodyPr/>
        <a:lstStyle/>
        <a:p>
          <a:endParaRPr lang="en-US"/>
        </a:p>
      </dgm:t>
    </dgm:pt>
    <dgm:pt modelId="{0BDCF06B-A178-4615-B000-BFA9E122EF8A}" type="pres">
      <dgm:prSet presAssocID="{4543F3C9-B60B-4617-886E-2B58D2FE22A0}" presName="gear1srcNode" presStyleLbl="node1" presStyleIdx="0" presStyleCnt="3"/>
      <dgm:spPr/>
      <dgm:t>
        <a:bodyPr/>
        <a:lstStyle/>
        <a:p>
          <a:endParaRPr lang="en-US"/>
        </a:p>
      </dgm:t>
    </dgm:pt>
    <dgm:pt modelId="{DA0B7966-6048-411B-8F51-A365BD9FCE70}" type="pres">
      <dgm:prSet presAssocID="{4543F3C9-B60B-4617-886E-2B58D2FE22A0}" presName="gear1dstNode" presStyleLbl="node1" presStyleIdx="0" presStyleCnt="3"/>
      <dgm:spPr/>
      <dgm:t>
        <a:bodyPr/>
        <a:lstStyle/>
        <a:p>
          <a:endParaRPr lang="en-US"/>
        </a:p>
      </dgm:t>
    </dgm:pt>
    <dgm:pt modelId="{D208385A-4ED3-457B-95D0-174B0EC7D5F1}" type="pres">
      <dgm:prSet presAssocID="{9EF37654-B62C-4365-BB3C-78BC944564A3}" presName="gear2" presStyleLbl="node1" presStyleIdx="1" presStyleCnt="3">
        <dgm:presLayoutVars>
          <dgm:chMax val="1"/>
          <dgm:bulletEnabled val="1"/>
        </dgm:presLayoutVars>
      </dgm:prSet>
      <dgm:spPr/>
      <dgm:t>
        <a:bodyPr/>
        <a:lstStyle/>
        <a:p>
          <a:endParaRPr lang="en-US"/>
        </a:p>
      </dgm:t>
    </dgm:pt>
    <dgm:pt modelId="{45323BC3-8D9D-4389-90D4-11DD42E71789}" type="pres">
      <dgm:prSet presAssocID="{9EF37654-B62C-4365-BB3C-78BC944564A3}" presName="gear2srcNode" presStyleLbl="node1" presStyleIdx="1" presStyleCnt="3"/>
      <dgm:spPr/>
      <dgm:t>
        <a:bodyPr/>
        <a:lstStyle/>
        <a:p>
          <a:endParaRPr lang="en-US"/>
        </a:p>
      </dgm:t>
    </dgm:pt>
    <dgm:pt modelId="{81736825-98C9-4F24-BDAE-7697CD1AEE74}" type="pres">
      <dgm:prSet presAssocID="{9EF37654-B62C-4365-BB3C-78BC944564A3}" presName="gear2dstNode" presStyleLbl="node1" presStyleIdx="1" presStyleCnt="3"/>
      <dgm:spPr/>
      <dgm:t>
        <a:bodyPr/>
        <a:lstStyle/>
        <a:p>
          <a:endParaRPr lang="en-US"/>
        </a:p>
      </dgm:t>
    </dgm:pt>
    <dgm:pt modelId="{546170BA-8C07-4AE9-AB20-A2CAA9B6519D}" type="pres">
      <dgm:prSet presAssocID="{B3915B2B-0177-4A41-A1CD-C913A337E0AF}" presName="gear3" presStyleLbl="node1" presStyleIdx="2" presStyleCnt="3"/>
      <dgm:spPr/>
      <dgm:t>
        <a:bodyPr/>
        <a:lstStyle/>
        <a:p>
          <a:endParaRPr lang="en-US"/>
        </a:p>
      </dgm:t>
    </dgm:pt>
    <dgm:pt modelId="{E6573B54-FDC4-4F5C-A8CE-14C000643731}" type="pres">
      <dgm:prSet presAssocID="{B3915B2B-0177-4A41-A1CD-C913A337E0AF}" presName="gear3tx" presStyleLbl="node1" presStyleIdx="2" presStyleCnt="3">
        <dgm:presLayoutVars>
          <dgm:chMax val="1"/>
          <dgm:bulletEnabled val="1"/>
        </dgm:presLayoutVars>
      </dgm:prSet>
      <dgm:spPr/>
      <dgm:t>
        <a:bodyPr/>
        <a:lstStyle/>
        <a:p>
          <a:endParaRPr lang="en-US"/>
        </a:p>
      </dgm:t>
    </dgm:pt>
    <dgm:pt modelId="{11640116-F973-456A-A030-F1FE89EE8C25}" type="pres">
      <dgm:prSet presAssocID="{B3915B2B-0177-4A41-A1CD-C913A337E0AF}" presName="gear3srcNode" presStyleLbl="node1" presStyleIdx="2" presStyleCnt="3"/>
      <dgm:spPr/>
      <dgm:t>
        <a:bodyPr/>
        <a:lstStyle/>
        <a:p>
          <a:endParaRPr lang="en-US"/>
        </a:p>
      </dgm:t>
    </dgm:pt>
    <dgm:pt modelId="{BF31D6A7-0855-4E46-906A-361FFDDA604B}" type="pres">
      <dgm:prSet presAssocID="{B3915B2B-0177-4A41-A1CD-C913A337E0AF}" presName="gear3dstNode" presStyleLbl="node1" presStyleIdx="2" presStyleCnt="3"/>
      <dgm:spPr/>
      <dgm:t>
        <a:bodyPr/>
        <a:lstStyle/>
        <a:p>
          <a:endParaRPr lang="en-US"/>
        </a:p>
      </dgm:t>
    </dgm:pt>
    <dgm:pt modelId="{7C4FCFE7-D1AF-4985-B4EE-13432F6ACC3F}" type="pres">
      <dgm:prSet presAssocID="{6C2E1C86-F30B-4F74-BC61-CA24B485B609}" presName="connector1" presStyleLbl="sibTrans2D1" presStyleIdx="0" presStyleCnt="3"/>
      <dgm:spPr/>
      <dgm:t>
        <a:bodyPr/>
        <a:lstStyle/>
        <a:p>
          <a:endParaRPr lang="en-US"/>
        </a:p>
      </dgm:t>
    </dgm:pt>
    <dgm:pt modelId="{88E2279A-580B-4E9D-A58B-B83DD69EA1E3}" type="pres">
      <dgm:prSet presAssocID="{00DE896F-D056-48F9-B1E0-699066460504}" presName="connector2" presStyleLbl="sibTrans2D1" presStyleIdx="1" presStyleCnt="3"/>
      <dgm:spPr/>
      <dgm:t>
        <a:bodyPr/>
        <a:lstStyle/>
        <a:p>
          <a:endParaRPr lang="en-US"/>
        </a:p>
      </dgm:t>
    </dgm:pt>
    <dgm:pt modelId="{ADB1696E-B095-4154-9F33-AAF122489ADA}" type="pres">
      <dgm:prSet presAssocID="{272BE810-18B3-49C0-9DBF-B90FFB82D58D}" presName="connector3" presStyleLbl="sibTrans2D1" presStyleIdx="2" presStyleCnt="3"/>
      <dgm:spPr/>
      <dgm:t>
        <a:bodyPr/>
        <a:lstStyle/>
        <a:p>
          <a:endParaRPr lang="en-US"/>
        </a:p>
      </dgm:t>
    </dgm:pt>
  </dgm:ptLst>
  <dgm:cxnLst>
    <dgm:cxn modelId="{C856D275-E99A-4C87-AB2A-5DCD2D1C3A8D}" type="presOf" srcId="{272BE810-18B3-49C0-9DBF-B90FFB82D58D}" destId="{ADB1696E-B095-4154-9F33-AAF122489ADA}" srcOrd="0" destOrd="0" presId="urn:microsoft.com/office/officeart/2005/8/layout/gear1"/>
    <dgm:cxn modelId="{E9926744-C518-4B76-BED4-C35DE9B44F3F}" srcId="{C48487F6-8A07-4A40-A9CB-5C0C2B234A32}" destId="{9EF37654-B62C-4365-BB3C-78BC944564A3}" srcOrd="1" destOrd="0" parTransId="{296CFE4D-1632-44F0-A55A-5D197CF509FE}" sibTransId="{00DE896F-D056-48F9-B1E0-699066460504}"/>
    <dgm:cxn modelId="{F329BC27-C088-4B92-9876-83894D553590}" type="presOf" srcId="{B3915B2B-0177-4A41-A1CD-C913A337E0AF}" destId="{E6573B54-FDC4-4F5C-A8CE-14C000643731}" srcOrd="1" destOrd="0" presId="urn:microsoft.com/office/officeart/2005/8/layout/gear1"/>
    <dgm:cxn modelId="{0DDCF1F8-D750-4FC6-B5F2-8252E3B2FEA0}" type="presOf" srcId="{9EF37654-B62C-4365-BB3C-78BC944564A3}" destId="{81736825-98C9-4F24-BDAE-7697CD1AEE74}" srcOrd="2" destOrd="0" presId="urn:microsoft.com/office/officeart/2005/8/layout/gear1"/>
    <dgm:cxn modelId="{E5692A29-7FD3-4760-9855-5940CA1CCC39}" type="presOf" srcId="{B3915B2B-0177-4A41-A1CD-C913A337E0AF}" destId="{546170BA-8C07-4AE9-AB20-A2CAA9B6519D}" srcOrd="0" destOrd="0" presId="urn:microsoft.com/office/officeart/2005/8/layout/gear1"/>
    <dgm:cxn modelId="{78B4B26E-5D77-49B2-B115-8FC2925B72F2}" type="presOf" srcId="{B3915B2B-0177-4A41-A1CD-C913A337E0AF}" destId="{11640116-F973-456A-A030-F1FE89EE8C25}" srcOrd="2" destOrd="0" presId="urn:microsoft.com/office/officeart/2005/8/layout/gear1"/>
    <dgm:cxn modelId="{E23BD2B6-99FD-4353-A5E5-0B85372CE0AA}" type="presOf" srcId="{C48487F6-8A07-4A40-A9CB-5C0C2B234A32}" destId="{06E86DF2-D88C-46FF-9755-BEA23742E7F3}" srcOrd="0" destOrd="0" presId="urn:microsoft.com/office/officeart/2005/8/layout/gear1"/>
    <dgm:cxn modelId="{A693B3B7-3FE2-4B1B-B901-9938D3961763}" type="presOf" srcId="{9EF37654-B62C-4365-BB3C-78BC944564A3}" destId="{45323BC3-8D9D-4389-90D4-11DD42E71789}" srcOrd="1" destOrd="0" presId="urn:microsoft.com/office/officeart/2005/8/layout/gear1"/>
    <dgm:cxn modelId="{684D0644-058C-46B7-AC13-EDCA952385EA}" srcId="{C48487F6-8A07-4A40-A9CB-5C0C2B234A32}" destId="{B3915B2B-0177-4A41-A1CD-C913A337E0AF}" srcOrd="2" destOrd="0" parTransId="{EC83CF1E-C520-498B-9DE4-3F19A7EE06FA}" sibTransId="{272BE810-18B3-49C0-9DBF-B90FFB82D58D}"/>
    <dgm:cxn modelId="{CD65F5B6-03D2-4F46-BC6F-BAA6A81F5967}" type="presOf" srcId="{4543F3C9-B60B-4617-886E-2B58D2FE22A0}" destId="{5C836F42-B3FA-4EA2-A91E-D69EBB69DEE4}" srcOrd="0" destOrd="0" presId="urn:microsoft.com/office/officeart/2005/8/layout/gear1"/>
    <dgm:cxn modelId="{76325FE1-449E-4FA7-A87D-8F6397B53CB5}" type="presOf" srcId="{B3915B2B-0177-4A41-A1CD-C913A337E0AF}" destId="{BF31D6A7-0855-4E46-906A-361FFDDA604B}" srcOrd="3" destOrd="0" presId="urn:microsoft.com/office/officeart/2005/8/layout/gear1"/>
    <dgm:cxn modelId="{80C03C33-72EF-4BFD-BEB8-3C3BA062A459}" type="presOf" srcId="{4543F3C9-B60B-4617-886E-2B58D2FE22A0}" destId="{0BDCF06B-A178-4615-B000-BFA9E122EF8A}" srcOrd="1" destOrd="0" presId="urn:microsoft.com/office/officeart/2005/8/layout/gear1"/>
    <dgm:cxn modelId="{B64C52CA-9A9A-4C72-AC49-8DF648206CBE}" type="presOf" srcId="{00DE896F-D056-48F9-B1E0-699066460504}" destId="{88E2279A-580B-4E9D-A58B-B83DD69EA1E3}" srcOrd="0" destOrd="0" presId="urn:microsoft.com/office/officeart/2005/8/layout/gear1"/>
    <dgm:cxn modelId="{FCCB730C-BDDB-4941-A3BC-122F6EFED08E}" type="presOf" srcId="{6C2E1C86-F30B-4F74-BC61-CA24B485B609}" destId="{7C4FCFE7-D1AF-4985-B4EE-13432F6ACC3F}" srcOrd="0" destOrd="0" presId="urn:microsoft.com/office/officeart/2005/8/layout/gear1"/>
    <dgm:cxn modelId="{BA00CA53-5870-455F-9D61-66E41C804C72}" type="presOf" srcId="{9EF37654-B62C-4365-BB3C-78BC944564A3}" destId="{D208385A-4ED3-457B-95D0-174B0EC7D5F1}" srcOrd="0" destOrd="0" presId="urn:microsoft.com/office/officeart/2005/8/layout/gear1"/>
    <dgm:cxn modelId="{9FE3165A-A03F-4323-AB51-6B4743767DCD}" srcId="{C48487F6-8A07-4A40-A9CB-5C0C2B234A32}" destId="{4543F3C9-B60B-4617-886E-2B58D2FE22A0}" srcOrd="0" destOrd="0" parTransId="{F6113107-689E-4DE6-86AE-F94EF8EBA664}" sibTransId="{6C2E1C86-F30B-4F74-BC61-CA24B485B609}"/>
    <dgm:cxn modelId="{81DCA390-DC59-4EBD-9B4C-AD94B1A7B796}" type="presOf" srcId="{4543F3C9-B60B-4617-886E-2B58D2FE22A0}" destId="{DA0B7966-6048-411B-8F51-A365BD9FCE70}" srcOrd="2" destOrd="0" presId="urn:microsoft.com/office/officeart/2005/8/layout/gear1"/>
    <dgm:cxn modelId="{678E7A94-3983-40CA-B8A8-FD798BFAC335}" type="presParOf" srcId="{06E86DF2-D88C-46FF-9755-BEA23742E7F3}" destId="{5C836F42-B3FA-4EA2-A91E-D69EBB69DEE4}" srcOrd="0" destOrd="0" presId="urn:microsoft.com/office/officeart/2005/8/layout/gear1"/>
    <dgm:cxn modelId="{EACCC377-E360-4FFB-BB1E-7C4F7B016609}" type="presParOf" srcId="{06E86DF2-D88C-46FF-9755-BEA23742E7F3}" destId="{0BDCF06B-A178-4615-B000-BFA9E122EF8A}" srcOrd="1" destOrd="0" presId="urn:microsoft.com/office/officeart/2005/8/layout/gear1"/>
    <dgm:cxn modelId="{F3F87D8B-FD6F-4784-97DB-C0EE55369FBC}" type="presParOf" srcId="{06E86DF2-D88C-46FF-9755-BEA23742E7F3}" destId="{DA0B7966-6048-411B-8F51-A365BD9FCE70}" srcOrd="2" destOrd="0" presId="urn:microsoft.com/office/officeart/2005/8/layout/gear1"/>
    <dgm:cxn modelId="{DE109196-C8BA-4AE2-A1CB-B0B0893E0AA0}" type="presParOf" srcId="{06E86DF2-D88C-46FF-9755-BEA23742E7F3}" destId="{D208385A-4ED3-457B-95D0-174B0EC7D5F1}" srcOrd="3" destOrd="0" presId="urn:microsoft.com/office/officeart/2005/8/layout/gear1"/>
    <dgm:cxn modelId="{E8230782-1A08-4C81-ABB2-5EA50C1AC8B0}" type="presParOf" srcId="{06E86DF2-D88C-46FF-9755-BEA23742E7F3}" destId="{45323BC3-8D9D-4389-90D4-11DD42E71789}" srcOrd="4" destOrd="0" presId="urn:microsoft.com/office/officeart/2005/8/layout/gear1"/>
    <dgm:cxn modelId="{75FE1CA0-7391-4836-9C1A-957905959E7C}" type="presParOf" srcId="{06E86DF2-D88C-46FF-9755-BEA23742E7F3}" destId="{81736825-98C9-4F24-BDAE-7697CD1AEE74}" srcOrd="5" destOrd="0" presId="urn:microsoft.com/office/officeart/2005/8/layout/gear1"/>
    <dgm:cxn modelId="{A044E886-1B59-4630-9854-A34663B817F5}" type="presParOf" srcId="{06E86DF2-D88C-46FF-9755-BEA23742E7F3}" destId="{546170BA-8C07-4AE9-AB20-A2CAA9B6519D}" srcOrd="6" destOrd="0" presId="urn:microsoft.com/office/officeart/2005/8/layout/gear1"/>
    <dgm:cxn modelId="{20377AA8-5673-4777-BC6E-189C786CE9E4}" type="presParOf" srcId="{06E86DF2-D88C-46FF-9755-BEA23742E7F3}" destId="{E6573B54-FDC4-4F5C-A8CE-14C000643731}" srcOrd="7" destOrd="0" presId="urn:microsoft.com/office/officeart/2005/8/layout/gear1"/>
    <dgm:cxn modelId="{2D62D0E1-637B-4E00-8085-FBE52C3342C8}" type="presParOf" srcId="{06E86DF2-D88C-46FF-9755-BEA23742E7F3}" destId="{11640116-F973-456A-A030-F1FE89EE8C25}" srcOrd="8" destOrd="0" presId="urn:microsoft.com/office/officeart/2005/8/layout/gear1"/>
    <dgm:cxn modelId="{FD7C9344-2682-4F4E-AC94-6CDD7C5D2457}" type="presParOf" srcId="{06E86DF2-D88C-46FF-9755-BEA23742E7F3}" destId="{BF31D6A7-0855-4E46-906A-361FFDDA604B}" srcOrd="9" destOrd="0" presId="urn:microsoft.com/office/officeart/2005/8/layout/gear1"/>
    <dgm:cxn modelId="{0D411872-9BA3-4858-8EB8-3E64A7036929}" type="presParOf" srcId="{06E86DF2-D88C-46FF-9755-BEA23742E7F3}" destId="{7C4FCFE7-D1AF-4985-B4EE-13432F6ACC3F}" srcOrd="10" destOrd="0" presId="urn:microsoft.com/office/officeart/2005/8/layout/gear1"/>
    <dgm:cxn modelId="{5053ED7A-34D2-4116-A08F-461846607794}" type="presParOf" srcId="{06E86DF2-D88C-46FF-9755-BEA23742E7F3}" destId="{88E2279A-580B-4E9D-A58B-B83DD69EA1E3}" srcOrd="11" destOrd="0" presId="urn:microsoft.com/office/officeart/2005/8/layout/gear1"/>
    <dgm:cxn modelId="{BD79A8FB-5557-451B-92CD-721969A835C9}" type="presParOf" srcId="{06E86DF2-D88C-46FF-9755-BEA23742E7F3}" destId="{ADB1696E-B095-4154-9F33-AAF122489ADA}"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7F77B3D-3EC5-4788-B143-DF5EECD61073}"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626B1887-2D6F-4D3F-A025-74AB7874B214}">
      <dgm:prSet phldrT="[Text]" custT="1"/>
      <dgm:spPr/>
      <dgm:t>
        <a:bodyPr/>
        <a:lstStyle/>
        <a:p>
          <a:r>
            <a:rPr lang="en-US" sz="1800" b="1" dirty="0" smtClean="0"/>
            <a:t>Consistency</a:t>
          </a:r>
          <a:endParaRPr lang="en-US" sz="1800" dirty="0"/>
        </a:p>
      </dgm:t>
    </dgm:pt>
    <dgm:pt modelId="{8A770DC5-B646-4BC8-B2C7-E5B6EB65AC4F}" type="parTrans" cxnId="{3CD616CF-6EBF-49A7-9208-388D621FADC9}">
      <dgm:prSet/>
      <dgm:spPr/>
      <dgm:t>
        <a:bodyPr/>
        <a:lstStyle/>
        <a:p>
          <a:endParaRPr lang="en-US" sz="1800"/>
        </a:p>
      </dgm:t>
    </dgm:pt>
    <dgm:pt modelId="{E3F48BF3-5D0F-4DED-B7CF-F96A9CA0C3F8}" type="sibTrans" cxnId="{3CD616CF-6EBF-49A7-9208-388D621FADC9}">
      <dgm:prSet/>
      <dgm:spPr/>
      <dgm:t>
        <a:bodyPr/>
        <a:lstStyle/>
        <a:p>
          <a:endParaRPr lang="en-US" sz="1800"/>
        </a:p>
      </dgm:t>
    </dgm:pt>
    <dgm:pt modelId="{1375A594-3515-4FF0-93A9-70C7944407C1}">
      <dgm:prSet phldrT="[Text]" custT="1"/>
      <dgm:spPr/>
      <dgm:t>
        <a:bodyPr/>
        <a:lstStyle/>
        <a:p>
          <a:r>
            <a:rPr lang="en-US" sz="1800" dirty="0" smtClean="0"/>
            <a:t>This means that the data in the database remains consistent after the execution of an operation. For example after an update operation all clients see the same data. </a:t>
          </a:r>
          <a:endParaRPr lang="en-US" sz="1800" dirty="0"/>
        </a:p>
      </dgm:t>
    </dgm:pt>
    <dgm:pt modelId="{5E625CDD-69F9-4CC9-BA12-3255B973ECD3}" type="parTrans" cxnId="{FA58E27D-C277-4E4E-8F68-601333772296}">
      <dgm:prSet/>
      <dgm:spPr/>
      <dgm:t>
        <a:bodyPr/>
        <a:lstStyle/>
        <a:p>
          <a:endParaRPr lang="en-US" sz="1800"/>
        </a:p>
      </dgm:t>
    </dgm:pt>
    <dgm:pt modelId="{9E98FFA5-C8C3-41A0-B505-BC311E287FCD}" type="sibTrans" cxnId="{FA58E27D-C277-4E4E-8F68-601333772296}">
      <dgm:prSet/>
      <dgm:spPr/>
      <dgm:t>
        <a:bodyPr/>
        <a:lstStyle/>
        <a:p>
          <a:endParaRPr lang="en-US" sz="1800"/>
        </a:p>
      </dgm:t>
    </dgm:pt>
    <dgm:pt modelId="{5CEBD2AD-EF55-46DB-BAB2-E3FF020969A5}">
      <dgm:prSet phldrT="[Text]" custT="1"/>
      <dgm:spPr/>
      <dgm:t>
        <a:bodyPr/>
        <a:lstStyle/>
        <a:p>
          <a:r>
            <a:rPr lang="en-US" sz="1800" b="1" dirty="0" smtClean="0"/>
            <a:t>Availability</a:t>
          </a:r>
          <a:endParaRPr lang="en-US" sz="1800" dirty="0"/>
        </a:p>
      </dgm:t>
    </dgm:pt>
    <dgm:pt modelId="{2B91199D-1FCC-446B-903E-FE8B9F125A55}" type="parTrans" cxnId="{D7AA8B1B-CE98-492D-B7B7-C56F2FBF0858}">
      <dgm:prSet/>
      <dgm:spPr/>
      <dgm:t>
        <a:bodyPr/>
        <a:lstStyle/>
        <a:p>
          <a:endParaRPr lang="en-US" sz="1800"/>
        </a:p>
      </dgm:t>
    </dgm:pt>
    <dgm:pt modelId="{9A8F0F92-37B9-4041-B661-7060AC0A7A6F}" type="sibTrans" cxnId="{D7AA8B1B-CE98-492D-B7B7-C56F2FBF0858}">
      <dgm:prSet/>
      <dgm:spPr/>
      <dgm:t>
        <a:bodyPr/>
        <a:lstStyle/>
        <a:p>
          <a:endParaRPr lang="en-US" sz="1800"/>
        </a:p>
      </dgm:t>
    </dgm:pt>
    <dgm:pt modelId="{EC27D30A-17A2-4721-8D64-384BA40C542C}">
      <dgm:prSet phldrT="[Text]" custT="1"/>
      <dgm:spPr/>
      <dgm:t>
        <a:bodyPr/>
        <a:lstStyle/>
        <a:p>
          <a:r>
            <a:rPr lang="en-US" sz="1800" dirty="0" smtClean="0"/>
            <a:t>This means that the system is always on (service guarantee availability), no downtime. </a:t>
          </a:r>
          <a:endParaRPr lang="en-US" sz="1800" dirty="0"/>
        </a:p>
      </dgm:t>
    </dgm:pt>
    <dgm:pt modelId="{CAE76F6D-2BE0-42B6-94DF-4A0A49F64915}" type="parTrans" cxnId="{15617648-5862-4A1A-8F88-C3626BC22980}">
      <dgm:prSet/>
      <dgm:spPr/>
      <dgm:t>
        <a:bodyPr/>
        <a:lstStyle/>
        <a:p>
          <a:endParaRPr lang="en-US" sz="1800"/>
        </a:p>
      </dgm:t>
    </dgm:pt>
    <dgm:pt modelId="{8EB4623B-E0CE-4CFC-8A90-A395CA6D5CDE}" type="sibTrans" cxnId="{15617648-5862-4A1A-8F88-C3626BC22980}">
      <dgm:prSet/>
      <dgm:spPr/>
      <dgm:t>
        <a:bodyPr/>
        <a:lstStyle/>
        <a:p>
          <a:endParaRPr lang="en-US" sz="1800"/>
        </a:p>
      </dgm:t>
    </dgm:pt>
    <dgm:pt modelId="{A087169A-2724-44BB-A3E2-EE646442A456}">
      <dgm:prSet phldrT="[Text]" custT="1"/>
      <dgm:spPr/>
      <dgm:t>
        <a:bodyPr/>
        <a:lstStyle/>
        <a:p>
          <a:r>
            <a:rPr lang="en-US" sz="1800" b="1" dirty="0" smtClean="0"/>
            <a:t>Partition Tolerance</a:t>
          </a:r>
          <a:endParaRPr lang="en-US" sz="1800" dirty="0"/>
        </a:p>
      </dgm:t>
    </dgm:pt>
    <dgm:pt modelId="{4056F32C-9B90-4A14-9747-D76049C85066}" type="parTrans" cxnId="{5DF9FC29-B484-4397-B258-5BC5AD0901EB}">
      <dgm:prSet/>
      <dgm:spPr/>
      <dgm:t>
        <a:bodyPr/>
        <a:lstStyle/>
        <a:p>
          <a:endParaRPr lang="en-US" sz="1800"/>
        </a:p>
      </dgm:t>
    </dgm:pt>
    <dgm:pt modelId="{A2CCBA4A-609E-4713-BC02-A019A9765063}" type="sibTrans" cxnId="{5DF9FC29-B484-4397-B258-5BC5AD0901EB}">
      <dgm:prSet/>
      <dgm:spPr/>
      <dgm:t>
        <a:bodyPr/>
        <a:lstStyle/>
        <a:p>
          <a:endParaRPr lang="en-US" sz="1800"/>
        </a:p>
      </dgm:t>
    </dgm:pt>
    <dgm:pt modelId="{CB9297D8-6C8C-4239-8EC3-F75F1AF53721}">
      <dgm:prSet phldrT="[Text]" custT="1"/>
      <dgm:spPr/>
      <dgm:t>
        <a:bodyPr/>
        <a:lstStyle/>
        <a:p>
          <a:r>
            <a:rPr lang="en-US" sz="1800" dirty="0" smtClean="0"/>
            <a:t>This means that the system continues to function even the communication among the servers is unreliable, i.e. the servers may be partitioned into multiple groups that cannot communicate with one another.</a:t>
          </a:r>
          <a:endParaRPr lang="en-US" sz="1800" dirty="0"/>
        </a:p>
      </dgm:t>
    </dgm:pt>
    <dgm:pt modelId="{AE37A87B-ECD0-4E09-BFFC-9A18201A2A55}" type="parTrans" cxnId="{F61E5451-B46A-4837-BEE2-71A42C81579C}">
      <dgm:prSet/>
      <dgm:spPr/>
      <dgm:t>
        <a:bodyPr/>
        <a:lstStyle/>
        <a:p>
          <a:endParaRPr lang="en-US" sz="1800"/>
        </a:p>
      </dgm:t>
    </dgm:pt>
    <dgm:pt modelId="{EE96D16F-1C36-40C1-ADC4-754000AA5605}" type="sibTrans" cxnId="{F61E5451-B46A-4837-BEE2-71A42C81579C}">
      <dgm:prSet/>
      <dgm:spPr/>
      <dgm:t>
        <a:bodyPr/>
        <a:lstStyle/>
        <a:p>
          <a:endParaRPr lang="en-US" sz="1800"/>
        </a:p>
      </dgm:t>
    </dgm:pt>
    <dgm:pt modelId="{A82FEFA3-7035-4863-B313-DDCC33DDEBE1}" type="pres">
      <dgm:prSet presAssocID="{37F77B3D-3EC5-4788-B143-DF5EECD61073}" presName="Name0" presStyleCnt="0">
        <dgm:presLayoutVars>
          <dgm:dir/>
          <dgm:animLvl val="lvl"/>
          <dgm:resizeHandles val="exact"/>
        </dgm:presLayoutVars>
      </dgm:prSet>
      <dgm:spPr/>
      <dgm:t>
        <a:bodyPr/>
        <a:lstStyle/>
        <a:p>
          <a:endParaRPr lang="en-US"/>
        </a:p>
      </dgm:t>
    </dgm:pt>
    <dgm:pt modelId="{AAE5E976-1C5F-4838-90EB-06EF95CEF9F4}" type="pres">
      <dgm:prSet presAssocID="{626B1887-2D6F-4D3F-A025-74AB7874B214}" presName="linNode" presStyleCnt="0"/>
      <dgm:spPr/>
    </dgm:pt>
    <dgm:pt modelId="{B716E5E9-FA0F-4567-B5FB-AA4925076891}" type="pres">
      <dgm:prSet presAssocID="{626B1887-2D6F-4D3F-A025-74AB7874B214}" presName="parentText" presStyleLbl="node1" presStyleIdx="0" presStyleCnt="3" custScaleX="79735">
        <dgm:presLayoutVars>
          <dgm:chMax val="1"/>
          <dgm:bulletEnabled val="1"/>
        </dgm:presLayoutVars>
      </dgm:prSet>
      <dgm:spPr/>
      <dgm:t>
        <a:bodyPr/>
        <a:lstStyle/>
        <a:p>
          <a:endParaRPr lang="en-US"/>
        </a:p>
      </dgm:t>
    </dgm:pt>
    <dgm:pt modelId="{6BC49F7B-54D4-474D-842A-B34A17622CCD}" type="pres">
      <dgm:prSet presAssocID="{626B1887-2D6F-4D3F-A025-74AB7874B214}" presName="descendantText" presStyleLbl="alignAccFollowNode1" presStyleIdx="0" presStyleCnt="3">
        <dgm:presLayoutVars>
          <dgm:bulletEnabled val="1"/>
        </dgm:presLayoutVars>
      </dgm:prSet>
      <dgm:spPr/>
      <dgm:t>
        <a:bodyPr/>
        <a:lstStyle/>
        <a:p>
          <a:endParaRPr lang="en-US"/>
        </a:p>
      </dgm:t>
    </dgm:pt>
    <dgm:pt modelId="{EE87CADA-F2B9-4B85-8836-D62A3ECAB92A}" type="pres">
      <dgm:prSet presAssocID="{E3F48BF3-5D0F-4DED-B7CF-F96A9CA0C3F8}" presName="sp" presStyleCnt="0"/>
      <dgm:spPr/>
    </dgm:pt>
    <dgm:pt modelId="{78CBB26C-060B-464B-922D-9DCFFAB40889}" type="pres">
      <dgm:prSet presAssocID="{5CEBD2AD-EF55-46DB-BAB2-E3FF020969A5}" presName="linNode" presStyleCnt="0"/>
      <dgm:spPr/>
    </dgm:pt>
    <dgm:pt modelId="{5BF0FDA3-0E80-4C02-B308-E78F1FAEB63E}" type="pres">
      <dgm:prSet presAssocID="{5CEBD2AD-EF55-46DB-BAB2-E3FF020969A5}" presName="parentText" presStyleLbl="node1" presStyleIdx="1" presStyleCnt="3" custScaleX="79735">
        <dgm:presLayoutVars>
          <dgm:chMax val="1"/>
          <dgm:bulletEnabled val="1"/>
        </dgm:presLayoutVars>
      </dgm:prSet>
      <dgm:spPr/>
      <dgm:t>
        <a:bodyPr/>
        <a:lstStyle/>
        <a:p>
          <a:endParaRPr lang="en-US"/>
        </a:p>
      </dgm:t>
    </dgm:pt>
    <dgm:pt modelId="{D6FDB226-2DFB-4843-8F51-7572361790C9}" type="pres">
      <dgm:prSet presAssocID="{5CEBD2AD-EF55-46DB-BAB2-E3FF020969A5}" presName="descendantText" presStyleLbl="alignAccFollowNode1" presStyleIdx="1" presStyleCnt="3">
        <dgm:presLayoutVars>
          <dgm:bulletEnabled val="1"/>
        </dgm:presLayoutVars>
      </dgm:prSet>
      <dgm:spPr/>
      <dgm:t>
        <a:bodyPr/>
        <a:lstStyle/>
        <a:p>
          <a:endParaRPr lang="en-US"/>
        </a:p>
      </dgm:t>
    </dgm:pt>
    <dgm:pt modelId="{E670064C-7412-4FA2-A9BC-C9C8E61F7B2E}" type="pres">
      <dgm:prSet presAssocID="{9A8F0F92-37B9-4041-B661-7060AC0A7A6F}" presName="sp" presStyleCnt="0"/>
      <dgm:spPr/>
    </dgm:pt>
    <dgm:pt modelId="{B7D08DF3-CC1A-4A91-A4C6-0038EEBCE228}" type="pres">
      <dgm:prSet presAssocID="{A087169A-2724-44BB-A3E2-EE646442A456}" presName="linNode" presStyleCnt="0"/>
      <dgm:spPr/>
    </dgm:pt>
    <dgm:pt modelId="{6456F145-9CEF-4075-B794-83197A775C32}" type="pres">
      <dgm:prSet presAssocID="{A087169A-2724-44BB-A3E2-EE646442A456}" presName="parentText" presStyleLbl="node1" presStyleIdx="2" presStyleCnt="3" custScaleX="79735">
        <dgm:presLayoutVars>
          <dgm:chMax val="1"/>
          <dgm:bulletEnabled val="1"/>
        </dgm:presLayoutVars>
      </dgm:prSet>
      <dgm:spPr/>
      <dgm:t>
        <a:bodyPr/>
        <a:lstStyle/>
        <a:p>
          <a:endParaRPr lang="en-US"/>
        </a:p>
      </dgm:t>
    </dgm:pt>
    <dgm:pt modelId="{A1A19C03-16FC-46EA-ACD1-847D5CC3CA88}" type="pres">
      <dgm:prSet presAssocID="{A087169A-2724-44BB-A3E2-EE646442A456}" presName="descendantText" presStyleLbl="alignAccFollowNode1" presStyleIdx="2" presStyleCnt="3" custScaleY="133172">
        <dgm:presLayoutVars>
          <dgm:bulletEnabled val="1"/>
        </dgm:presLayoutVars>
      </dgm:prSet>
      <dgm:spPr/>
      <dgm:t>
        <a:bodyPr/>
        <a:lstStyle/>
        <a:p>
          <a:endParaRPr lang="en-US"/>
        </a:p>
      </dgm:t>
    </dgm:pt>
  </dgm:ptLst>
  <dgm:cxnLst>
    <dgm:cxn modelId="{F61E5451-B46A-4837-BEE2-71A42C81579C}" srcId="{A087169A-2724-44BB-A3E2-EE646442A456}" destId="{CB9297D8-6C8C-4239-8EC3-F75F1AF53721}" srcOrd="0" destOrd="0" parTransId="{AE37A87B-ECD0-4E09-BFFC-9A18201A2A55}" sibTransId="{EE96D16F-1C36-40C1-ADC4-754000AA5605}"/>
    <dgm:cxn modelId="{158C6DAD-8199-4ACA-9039-87983BB3B7F3}" type="presOf" srcId="{37F77B3D-3EC5-4788-B143-DF5EECD61073}" destId="{A82FEFA3-7035-4863-B313-DDCC33DDEBE1}" srcOrd="0" destOrd="0" presId="urn:microsoft.com/office/officeart/2005/8/layout/vList5"/>
    <dgm:cxn modelId="{FA58E27D-C277-4E4E-8F68-601333772296}" srcId="{626B1887-2D6F-4D3F-A025-74AB7874B214}" destId="{1375A594-3515-4FF0-93A9-70C7944407C1}" srcOrd="0" destOrd="0" parTransId="{5E625CDD-69F9-4CC9-BA12-3255B973ECD3}" sibTransId="{9E98FFA5-C8C3-41A0-B505-BC311E287FCD}"/>
    <dgm:cxn modelId="{5DF9FC29-B484-4397-B258-5BC5AD0901EB}" srcId="{37F77B3D-3EC5-4788-B143-DF5EECD61073}" destId="{A087169A-2724-44BB-A3E2-EE646442A456}" srcOrd="2" destOrd="0" parTransId="{4056F32C-9B90-4A14-9747-D76049C85066}" sibTransId="{A2CCBA4A-609E-4713-BC02-A019A9765063}"/>
    <dgm:cxn modelId="{105FA90A-8309-46DB-B972-3CCEF7103954}" type="presOf" srcId="{A087169A-2724-44BB-A3E2-EE646442A456}" destId="{6456F145-9CEF-4075-B794-83197A775C32}" srcOrd="0" destOrd="0" presId="urn:microsoft.com/office/officeart/2005/8/layout/vList5"/>
    <dgm:cxn modelId="{885C753E-40B8-4889-998E-07BD9294469F}" type="presOf" srcId="{626B1887-2D6F-4D3F-A025-74AB7874B214}" destId="{B716E5E9-FA0F-4567-B5FB-AA4925076891}" srcOrd="0" destOrd="0" presId="urn:microsoft.com/office/officeart/2005/8/layout/vList5"/>
    <dgm:cxn modelId="{15617648-5862-4A1A-8F88-C3626BC22980}" srcId="{5CEBD2AD-EF55-46DB-BAB2-E3FF020969A5}" destId="{EC27D30A-17A2-4721-8D64-384BA40C542C}" srcOrd="0" destOrd="0" parTransId="{CAE76F6D-2BE0-42B6-94DF-4A0A49F64915}" sibTransId="{8EB4623B-E0CE-4CFC-8A90-A395CA6D5CDE}"/>
    <dgm:cxn modelId="{51EDA807-3761-449B-AA87-FA6E14BF3C94}" type="presOf" srcId="{5CEBD2AD-EF55-46DB-BAB2-E3FF020969A5}" destId="{5BF0FDA3-0E80-4C02-B308-E78F1FAEB63E}" srcOrd="0" destOrd="0" presId="urn:microsoft.com/office/officeart/2005/8/layout/vList5"/>
    <dgm:cxn modelId="{10E6035A-3A0A-45EB-BD19-1BACFD65A90F}" type="presOf" srcId="{EC27D30A-17A2-4721-8D64-384BA40C542C}" destId="{D6FDB226-2DFB-4843-8F51-7572361790C9}" srcOrd="0" destOrd="0" presId="urn:microsoft.com/office/officeart/2005/8/layout/vList5"/>
    <dgm:cxn modelId="{3CD616CF-6EBF-49A7-9208-388D621FADC9}" srcId="{37F77B3D-3EC5-4788-B143-DF5EECD61073}" destId="{626B1887-2D6F-4D3F-A025-74AB7874B214}" srcOrd="0" destOrd="0" parTransId="{8A770DC5-B646-4BC8-B2C7-E5B6EB65AC4F}" sibTransId="{E3F48BF3-5D0F-4DED-B7CF-F96A9CA0C3F8}"/>
    <dgm:cxn modelId="{AC260139-A292-4780-A393-ED20C4837153}" type="presOf" srcId="{1375A594-3515-4FF0-93A9-70C7944407C1}" destId="{6BC49F7B-54D4-474D-842A-B34A17622CCD}" srcOrd="0" destOrd="0" presId="urn:microsoft.com/office/officeart/2005/8/layout/vList5"/>
    <dgm:cxn modelId="{D76CC326-9A3A-40C7-9FB0-3DF13C78EA6C}" type="presOf" srcId="{CB9297D8-6C8C-4239-8EC3-F75F1AF53721}" destId="{A1A19C03-16FC-46EA-ACD1-847D5CC3CA88}" srcOrd="0" destOrd="0" presId="urn:microsoft.com/office/officeart/2005/8/layout/vList5"/>
    <dgm:cxn modelId="{D7AA8B1B-CE98-492D-B7B7-C56F2FBF0858}" srcId="{37F77B3D-3EC5-4788-B143-DF5EECD61073}" destId="{5CEBD2AD-EF55-46DB-BAB2-E3FF020969A5}" srcOrd="1" destOrd="0" parTransId="{2B91199D-1FCC-446B-903E-FE8B9F125A55}" sibTransId="{9A8F0F92-37B9-4041-B661-7060AC0A7A6F}"/>
    <dgm:cxn modelId="{CB1090DA-1FD0-469D-A75E-451DCFDFDB5C}" type="presParOf" srcId="{A82FEFA3-7035-4863-B313-DDCC33DDEBE1}" destId="{AAE5E976-1C5F-4838-90EB-06EF95CEF9F4}" srcOrd="0" destOrd="0" presId="urn:microsoft.com/office/officeart/2005/8/layout/vList5"/>
    <dgm:cxn modelId="{EF7D4034-B8A7-4671-A56C-93930AD2D098}" type="presParOf" srcId="{AAE5E976-1C5F-4838-90EB-06EF95CEF9F4}" destId="{B716E5E9-FA0F-4567-B5FB-AA4925076891}" srcOrd="0" destOrd="0" presId="urn:microsoft.com/office/officeart/2005/8/layout/vList5"/>
    <dgm:cxn modelId="{97554B56-1D2D-4982-B8C9-01D01089F188}" type="presParOf" srcId="{AAE5E976-1C5F-4838-90EB-06EF95CEF9F4}" destId="{6BC49F7B-54D4-474D-842A-B34A17622CCD}" srcOrd="1" destOrd="0" presId="urn:microsoft.com/office/officeart/2005/8/layout/vList5"/>
    <dgm:cxn modelId="{86483861-62B5-424D-B23E-717756AE9CE2}" type="presParOf" srcId="{A82FEFA3-7035-4863-B313-DDCC33DDEBE1}" destId="{EE87CADA-F2B9-4B85-8836-D62A3ECAB92A}" srcOrd="1" destOrd="0" presId="urn:microsoft.com/office/officeart/2005/8/layout/vList5"/>
    <dgm:cxn modelId="{30E4322F-3AED-4D70-82A9-CC361405DB6D}" type="presParOf" srcId="{A82FEFA3-7035-4863-B313-DDCC33DDEBE1}" destId="{78CBB26C-060B-464B-922D-9DCFFAB40889}" srcOrd="2" destOrd="0" presId="urn:microsoft.com/office/officeart/2005/8/layout/vList5"/>
    <dgm:cxn modelId="{F6CBE448-F306-484F-AB24-AD0110FDFE14}" type="presParOf" srcId="{78CBB26C-060B-464B-922D-9DCFFAB40889}" destId="{5BF0FDA3-0E80-4C02-B308-E78F1FAEB63E}" srcOrd="0" destOrd="0" presId="urn:microsoft.com/office/officeart/2005/8/layout/vList5"/>
    <dgm:cxn modelId="{611217D4-D3FE-4165-A553-C3ECA11E23FE}" type="presParOf" srcId="{78CBB26C-060B-464B-922D-9DCFFAB40889}" destId="{D6FDB226-2DFB-4843-8F51-7572361790C9}" srcOrd="1" destOrd="0" presId="urn:microsoft.com/office/officeart/2005/8/layout/vList5"/>
    <dgm:cxn modelId="{083DBFF2-AC43-43BB-9084-FA83297F156B}" type="presParOf" srcId="{A82FEFA3-7035-4863-B313-DDCC33DDEBE1}" destId="{E670064C-7412-4FA2-A9BC-C9C8E61F7B2E}" srcOrd="3" destOrd="0" presId="urn:microsoft.com/office/officeart/2005/8/layout/vList5"/>
    <dgm:cxn modelId="{8AD40141-721B-4B27-A4FB-C39B0DE6AF4D}" type="presParOf" srcId="{A82FEFA3-7035-4863-B313-DDCC33DDEBE1}" destId="{B7D08DF3-CC1A-4A91-A4C6-0038EEBCE228}" srcOrd="4" destOrd="0" presId="urn:microsoft.com/office/officeart/2005/8/layout/vList5"/>
    <dgm:cxn modelId="{E98F5281-9576-48D6-9256-5EB4101A77E7}" type="presParOf" srcId="{B7D08DF3-CC1A-4A91-A4C6-0038EEBCE228}" destId="{6456F145-9CEF-4075-B794-83197A775C32}" srcOrd="0" destOrd="0" presId="urn:microsoft.com/office/officeart/2005/8/layout/vList5"/>
    <dgm:cxn modelId="{195F1513-3779-4E5F-A421-F100C7C3BA16}" type="presParOf" srcId="{B7D08DF3-CC1A-4A91-A4C6-0038EEBCE228}" destId="{A1A19C03-16FC-46EA-ACD1-847D5CC3CA88}"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13658B-0691-45E9-8D9E-D6FB76C55745}"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8AA2C74-4178-4F38-8291-F3D220DF49DB}">
      <dgm:prSet phldrT="[Text]" custT="1"/>
      <dgm:spPr/>
      <dgm:t>
        <a:bodyPr/>
        <a:lstStyle/>
        <a:p>
          <a:r>
            <a:rPr lang="hu-HU" sz="2000" dirty="0" smtClean="0"/>
            <a:t>Key-value</a:t>
          </a:r>
          <a:endParaRPr lang="en-US" sz="2000" dirty="0"/>
        </a:p>
      </dgm:t>
    </dgm:pt>
    <dgm:pt modelId="{F53FEC3C-A6DB-434B-ABAD-D60CCF0EEC94}" type="parTrans" cxnId="{F718A663-EF58-4EF0-8DDB-7801E44679F4}">
      <dgm:prSet/>
      <dgm:spPr/>
      <dgm:t>
        <a:bodyPr/>
        <a:lstStyle/>
        <a:p>
          <a:endParaRPr lang="en-US" sz="2000"/>
        </a:p>
      </dgm:t>
    </dgm:pt>
    <dgm:pt modelId="{A6D56FEB-A301-491F-B0E4-595C1751F8D4}" type="sibTrans" cxnId="{F718A663-EF58-4EF0-8DDB-7801E44679F4}">
      <dgm:prSet/>
      <dgm:spPr/>
      <dgm:t>
        <a:bodyPr/>
        <a:lstStyle/>
        <a:p>
          <a:endParaRPr lang="en-US" sz="2000"/>
        </a:p>
      </dgm:t>
    </dgm:pt>
    <dgm:pt modelId="{A007AC45-9202-4D64-A025-16808BC07368}">
      <dgm:prSet phldrT="[Text]" custT="1"/>
      <dgm:spPr/>
      <dgm:t>
        <a:bodyPr/>
        <a:lstStyle/>
        <a:p>
          <a:r>
            <a:rPr lang="hu-HU" sz="2000" dirty="0" smtClean="0"/>
            <a:t>Graph database </a:t>
          </a:r>
          <a:endParaRPr lang="en-US" sz="2000" dirty="0"/>
        </a:p>
      </dgm:t>
    </dgm:pt>
    <dgm:pt modelId="{76815FF0-4B8B-4993-9D73-00EAED05512B}" type="parTrans" cxnId="{4EF30C35-D8E4-4B94-9D97-AA9AD8E08B29}">
      <dgm:prSet/>
      <dgm:spPr/>
      <dgm:t>
        <a:bodyPr/>
        <a:lstStyle/>
        <a:p>
          <a:endParaRPr lang="en-US" sz="2000"/>
        </a:p>
      </dgm:t>
    </dgm:pt>
    <dgm:pt modelId="{7CBE2383-BE04-49DC-979A-9F2434FEF14A}" type="sibTrans" cxnId="{4EF30C35-D8E4-4B94-9D97-AA9AD8E08B29}">
      <dgm:prSet/>
      <dgm:spPr/>
      <dgm:t>
        <a:bodyPr/>
        <a:lstStyle/>
        <a:p>
          <a:endParaRPr lang="en-US" sz="2000"/>
        </a:p>
      </dgm:t>
    </dgm:pt>
    <dgm:pt modelId="{9A8E467F-6109-402B-A9B4-C9C30D1D81D1}">
      <dgm:prSet phldrT="[Text]" custT="1"/>
      <dgm:spPr/>
      <dgm:t>
        <a:bodyPr/>
        <a:lstStyle/>
        <a:p>
          <a:r>
            <a:rPr lang="hu-HU" sz="2000" dirty="0" smtClean="0"/>
            <a:t>Document-oriented </a:t>
          </a:r>
          <a:endParaRPr lang="en-US" sz="2000" dirty="0"/>
        </a:p>
      </dgm:t>
    </dgm:pt>
    <dgm:pt modelId="{69E63F18-B0F3-4485-A040-A088E1344F8C}" type="parTrans" cxnId="{663EBABC-6147-405B-9084-04804157C447}">
      <dgm:prSet/>
      <dgm:spPr/>
      <dgm:t>
        <a:bodyPr/>
        <a:lstStyle/>
        <a:p>
          <a:endParaRPr lang="en-US" sz="2000"/>
        </a:p>
      </dgm:t>
    </dgm:pt>
    <dgm:pt modelId="{82657D93-0461-4B20-9783-F1929C90181A}" type="sibTrans" cxnId="{663EBABC-6147-405B-9084-04804157C447}">
      <dgm:prSet/>
      <dgm:spPr/>
      <dgm:t>
        <a:bodyPr/>
        <a:lstStyle/>
        <a:p>
          <a:endParaRPr lang="en-US" sz="2000"/>
        </a:p>
      </dgm:t>
    </dgm:pt>
    <dgm:pt modelId="{87143507-672A-46F9-8041-16C3EEDAD506}">
      <dgm:prSet phldrT="[Text]" custT="1"/>
      <dgm:spPr/>
      <dgm:t>
        <a:bodyPr/>
        <a:lstStyle/>
        <a:p>
          <a:r>
            <a:rPr lang="hu-HU" sz="2000" dirty="0" smtClean="0"/>
            <a:t>Column family</a:t>
          </a:r>
          <a:endParaRPr lang="en-US" sz="2000" dirty="0"/>
        </a:p>
      </dgm:t>
    </dgm:pt>
    <dgm:pt modelId="{13D16739-F43E-482A-B7CC-8102EC3235B9}" type="parTrans" cxnId="{030C8ED0-FC05-44AE-99BE-15C41F7155EE}">
      <dgm:prSet/>
      <dgm:spPr/>
      <dgm:t>
        <a:bodyPr/>
        <a:lstStyle/>
        <a:p>
          <a:endParaRPr lang="en-US" sz="2000"/>
        </a:p>
      </dgm:t>
    </dgm:pt>
    <dgm:pt modelId="{8DAC50A3-A1C4-4982-A7C9-90FD646743EE}" type="sibTrans" cxnId="{030C8ED0-FC05-44AE-99BE-15C41F7155EE}">
      <dgm:prSet/>
      <dgm:spPr/>
      <dgm:t>
        <a:bodyPr/>
        <a:lstStyle/>
        <a:p>
          <a:endParaRPr lang="en-US" sz="2000"/>
        </a:p>
      </dgm:t>
    </dgm:pt>
    <dgm:pt modelId="{28DA99C9-B4F6-4093-AFC6-C5F76757003D}" type="pres">
      <dgm:prSet presAssocID="{7013658B-0691-45E9-8D9E-D6FB76C55745}" presName="linear" presStyleCnt="0">
        <dgm:presLayoutVars>
          <dgm:animLvl val="lvl"/>
          <dgm:resizeHandles val="exact"/>
        </dgm:presLayoutVars>
      </dgm:prSet>
      <dgm:spPr/>
      <dgm:t>
        <a:bodyPr/>
        <a:lstStyle/>
        <a:p>
          <a:endParaRPr lang="en-US"/>
        </a:p>
      </dgm:t>
    </dgm:pt>
    <dgm:pt modelId="{9B36C20F-4820-4BCF-89C6-15F82669E7ED}" type="pres">
      <dgm:prSet presAssocID="{28AA2C74-4178-4F38-8291-F3D220DF49DB}" presName="parentText" presStyleLbl="node1" presStyleIdx="0" presStyleCnt="4">
        <dgm:presLayoutVars>
          <dgm:chMax val="0"/>
          <dgm:bulletEnabled val="1"/>
        </dgm:presLayoutVars>
      </dgm:prSet>
      <dgm:spPr/>
      <dgm:t>
        <a:bodyPr/>
        <a:lstStyle/>
        <a:p>
          <a:endParaRPr lang="en-US"/>
        </a:p>
      </dgm:t>
    </dgm:pt>
    <dgm:pt modelId="{1B215D4F-D646-4D08-B21B-023A7E139A46}" type="pres">
      <dgm:prSet presAssocID="{A6D56FEB-A301-491F-B0E4-595C1751F8D4}" presName="spacer" presStyleCnt="0"/>
      <dgm:spPr/>
    </dgm:pt>
    <dgm:pt modelId="{D85A952C-2B90-40F6-8751-7222A3D3001E}" type="pres">
      <dgm:prSet presAssocID="{A007AC45-9202-4D64-A025-16808BC07368}" presName="parentText" presStyleLbl="node1" presStyleIdx="1" presStyleCnt="4">
        <dgm:presLayoutVars>
          <dgm:chMax val="0"/>
          <dgm:bulletEnabled val="1"/>
        </dgm:presLayoutVars>
      </dgm:prSet>
      <dgm:spPr/>
      <dgm:t>
        <a:bodyPr/>
        <a:lstStyle/>
        <a:p>
          <a:endParaRPr lang="en-US"/>
        </a:p>
      </dgm:t>
    </dgm:pt>
    <dgm:pt modelId="{845BE99C-3CEF-4B72-8E62-9311450785CF}" type="pres">
      <dgm:prSet presAssocID="{7CBE2383-BE04-49DC-979A-9F2434FEF14A}" presName="spacer" presStyleCnt="0"/>
      <dgm:spPr/>
    </dgm:pt>
    <dgm:pt modelId="{497C112A-2E49-4657-9509-3627C03AF9D8}" type="pres">
      <dgm:prSet presAssocID="{9A8E467F-6109-402B-A9B4-C9C30D1D81D1}" presName="parentText" presStyleLbl="node1" presStyleIdx="2" presStyleCnt="4">
        <dgm:presLayoutVars>
          <dgm:chMax val="0"/>
          <dgm:bulletEnabled val="1"/>
        </dgm:presLayoutVars>
      </dgm:prSet>
      <dgm:spPr/>
      <dgm:t>
        <a:bodyPr/>
        <a:lstStyle/>
        <a:p>
          <a:endParaRPr lang="en-US"/>
        </a:p>
      </dgm:t>
    </dgm:pt>
    <dgm:pt modelId="{BB2CF7F8-F773-4F4B-9103-D7C814885755}" type="pres">
      <dgm:prSet presAssocID="{82657D93-0461-4B20-9783-F1929C90181A}" presName="spacer" presStyleCnt="0"/>
      <dgm:spPr/>
    </dgm:pt>
    <dgm:pt modelId="{A02BDE94-B381-415D-8D39-2CE7704B5ABD}" type="pres">
      <dgm:prSet presAssocID="{87143507-672A-46F9-8041-16C3EEDAD506}" presName="parentText" presStyleLbl="node1" presStyleIdx="3" presStyleCnt="4">
        <dgm:presLayoutVars>
          <dgm:chMax val="0"/>
          <dgm:bulletEnabled val="1"/>
        </dgm:presLayoutVars>
      </dgm:prSet>
      <dgm:spPr/>
      <dgm:t>
        <a:bodyPr/>
        <a:lstStyle/>
        <a:p>
          <a:endParaRPr lang="en-US"/>
        </a:p>
      </dgm:t>
    </dgm:pt>
  </dgm:ptLst>
  <dgm:cxnLst>
    <dgm:cxn modelId="{64302025-E55E-486E-B1A2-3AD291D253A4}" type="presOf" srcId="{7013658B-0691-45E9-8D9E-D6FB76C55745}" destId="{28DA99C9-B4F6-4093-AFC6-C5F76757003D}" srcOrd="0" destOrd="0" presId="urn:microsoft.com/office/officeart/2005/8/layout/vList2"/>
    <dgm:cxn modelId="{E04F8049-8D26-4FD8-BBEB-5B94392EF738}" type="presOf" srcId="{28AA2C74-4178-4F38-8291-F3D220DF49DB}" destId="{9B36C20F-4820-4BCF-89C6-15F82669E7ED}" srcOrd="0" destOrd="0" presId="urn:microsoft.com/office/officeart/2005/8/layout/vList2"/>
    <dgm:cxn modelId="{F352AD84-0C13-4259-9D67-C64F05B5A0F1}" type="presOf" srcId="{87143507-672A-46F9-8041-16C3EEDAD506}" destId="{A02BDE94-B381-415D-8D39-2CE7704B5ABD}" srcOrd="0" destOrd="0" presId="urn:microsoft.com/office/officeart/2005/8/layout/vList2"/>
    <dgm:cxn modelId="{0480D5E1-EA73-453C-9E8E-9F060A18069C}" type="presOf" srcId="{9A8E467F-6109-402B-A9B4-C9C30D1D81D1}" destId="{497C112A-2E49-4657-9509-3627C03AF9D8}" srcOrd="0" destOrd="0" presId="urn:microsoft.com/office/officeart/2005/8/layout/vList2"/>
    <dgm:cxn modelId="{663EBABC-6147-405B-9084-04804157C447}" srcId="{7013658B-0691-45E9-8D9E-D6FB76C55745}" destId="{9A8E467F-6109-402B-A9B4-C9C30D1D81D1}" srcOrd="2" destOrd="0" parTransId="{69E63F18-B0F3-4485-A040-A088E1344F8C}" sibTransId="{82657D93-0461-4B20-9783-F1929C90181A}"/>
    <dgm:cxn modelId="{FA070F85-720C-415D-849C-630E9CC0D35F}" type="presOf" srcId="{A007AC45-9202-4D64-A025-16808BC07368}" destId="{D85A952C-2B90-40F6-8751-7222A3D3001E}" srcOrd="0" destOrd="0" presId="urn:microsoft.com/office/officeart/2005/8/layout/vList2"/>
    <dgm:cxn modelId="{4EF30C35-D8E4-4B94-9D97-AA9AD8E08B29}" srcId="{7013658B-0691-45E9-8D9E-D6FB76C55745}" destId="{A007AC45-9202-4D64-A025-16808BC07368}" srcOrd="1" destOrd="0" parTransId="{76815FF0-4B8B-4993-9D73-00EAED05512B}" sibTransId="{7CBE2383-BE04-49DC-979A-9F2434FEF14A}"/>
    <dgm:cxn modelId="{030C8ED0-FC05-44AE-99BE-15C41F7155EE}" srcId="{7013658B-0691-45E9-8D9E-D6FB76C55745}" destId="{87143507-672A-46F9-8041-16C3EEDAD506}" srcOrd="3" destOrd="0" parTransId="{13D16739-F43E-482A-B7CC-8102EC3235B9}" sibTransId="{8DAC50A3-A1C4-4982-A7C9-90FD646743EE}"/>
    <dgm:cxn modelId="{F718A663-EF58-4EF0-8DDB-7801E44679F4}" srcId="{7013658B-0691-45E9-8D9E-D6FB76C55745}" destId="{28AA2C74-4178-4F38-8291-F3D220DF49DB}" srcOrd="0" destOrd="0" parTransId="{F53FEC3C-A6DB-434B-ABAD-D60CCF0EEC94}" sibTransId="{A6D56FEB-A301-491F-B0E4-595C1751F8D4}"/>
    <dgm:cxn modelId="{248C02B1-7C8D-4464-8791-D89EBABCCFA3}" type="presParOf" srcId="{28DA99C9-B4F6-4093-AFC6-C5F76757003D}" destId="{9B36C20F-4820-4BCF-89C6-15F82669E7ED}" srcOrd="0" destOrd="0" presId="urn:microsoft.com/office/officeart/2005/8/layout/vList2"/>
    <dgm:cxn modelId="{DEFBA81F-DD3E-45B4-9EC6-B3220FD44806}" type="presParOf" srcId="{28DA99C9-B4F6-4093-AFC6-C5F76757003D}" destId="{1B215D4F-D646-4D08-B21B-023A7E139A46}" srcOrd="1" destOrd="0" presId="urn:microsoft.com/office/officeart/2005/8/layout/vList2"/>
    <dgm:cxn modelId="{C1CE1D67-094B-42BB-829B-BADDE03B554F}" type="presParOf" srcId="{28DA99C9-B4F6-4093-AFC6-C5F76757003D}" destId="{D85A952C-2B90-40F6-8751-7222A3D3001E}" srcOrd="2" destOrd="0" presId="urn:microsoft.com/office/officeart/2005/8/layout/vList2"/>
    <dgm:cxn modelId="{103DCC23-C1BF-4B4C-BCF0-99BCA5EB2ED1}" type="presParOf" srcId="{28DA99C9-B4F6-4093-AFC6-C5F76757003D}" destId="{845BE99C-3CEF-4B72-8E62-9311450785CF}" srcOrd="3" destOrd="0" presId="urn:microsoft.com/office/officeart/2005/8/layout/vList2"/>
    <dgm:cxn modelId="{6D20ACEB-F373-4833-AFD5-6BB3C29FC433}" type="presParOf" srcId="{28DA99C9-B4F6-4093-AFC6-C5F76757003D}" destId="{497C112A-2E49-4657-9509-3627C03AF9D8}" srcOrd="4" destOrd="0" presId="urn:microsoft.com/office/officeart/2005/8/layout/vList2"/>
    <dgm:cxn modelId="{0985FB53-A3F2-488B-B569-409FBD12CDCE}" type="presParOf" srcId="{28DA99C9-B4F6-4093-AFC6-C5F76757003D}" destId="{BB2CF7F8-F773-4F4B-9103-D7C814885755}" srcOrd="5" destOrd="0" presId="urn:microsoft.com/office/officeart/2005/8/layout/vList2"/>
    <dgm:cxn modelId="{ADBDE877-AC36-4B09-BE16-16C4CE75974C}" type="presParOf" srcId="{28DA99C9-B4F6-4093-AFC6-C5F76757003D}" destId="{A02BDE94-B381-415D-8D39-2CE7704B5ABD}"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271A4F6-6A4B-4F07-A1A2-99767784A1DD}" type="doc">
      <dgm:prSet loTypeId="urn:microsoft.com/office/officeart/2005/8/layout/default#2" loCatId="list" qsTypeId="urn:microsoft.com/office/officeart/2005/8/quickstyle/simple1" qsCatId="simple" csTypeId="urn:microsoft.com/office/officeart/2005/8/colors/accent5_1" csCatId="accent5" phldr="1"/>
      <dgm:spPr/>
      <dgm:t>
        <a:bodyPr/>
        <a:lstStyle/>
        <a:p>
          <a:endParaRPr lang="en-US"/>
        </a:p>
      </dgm:t>
    </dgm:pt>
    <dgm:pt modelId="{6D18DD88-1E80-40E8-BA5B-F2D3F323C8A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EF13B59F-350B-4105-BAA6-8E381419D2D1}" type="parTrans" cxnId="{E42CF0B5-A68A-4259-8B18-DED7A2B71A3A}">
      <dgm:prSet/>
      <dgm:spPr/>
      <dgm:t>
        <a:bodyPr/>
        <a:lstStyle/>
        <a:p>
          <a:endParaRPr lang="en-US"/>
        </a:p>
      </dgm:t>
    </dgm:pt>
    <dgm:pt modelId="{33249ABA-A628-4F17-A295-39C68879E6AF}" type="sibTrans" cxnId="{E42CF0B5-A68A-4259-8B18-DED7A2B71A3A}">
      <dgm:prSet/>
      <dgm:spPr/>
      <dgm:t>
        <a:bodyPr/>
        <a:lstStyle/>
        <a:p>
          <a:endParaRPr lang="en-US"/>
        </a:p>
      </dgm:t>
    </dgm:pt>
    <dgm:pt modelId="{E27B4BB8-1A36-47D0-AAD1-39F890E9023E}">
      <dgm:prSet phldrT="[Text]"/>
      <dgm:spPr>
        <a:blipFill rotWithShape="0">
          <a:blip xmlns:r="http://schemas.openxmlformats.org/officeDocument/2006/relationships" r:embed="rId2"/>
          <a:stretch>
            <a:fillRect/>
          </a:stretch>
        </a:blipFill>
      </dgm:spPr>
      <dgm:t>
        <a:bodyPr/>
        <a:lstStyle/>
        <a:p>
          <a:r>
            <a:rPr lang="en-US" dirty="0" smtClean="0"/>
            <a:t> </a:t>
          </a:r>
          <a:endParaRPr lang="en-US" dirty="0"/>
        </a:p>
      </dgm:t>
    </dgm:pt>
    <dgm:pt modelId="{3B27A2FC-3093-442A-BEAF-0F2E107F5068}" type="parTrans" cxnId="{8EC988C2-747C-49B6-9EFC-3B689A152F82}">
      <dgm:prSet/>
      <dgm:spPr/>
      <dgm:t>
        <a:bodyPr/>
        <a:lstStyle/>
        <a:p>
          <a:endParaRPr lang="en-US"/>
        </a:p>
      </dgm:t>
    </dgm:pt>
    <dgm:pt modelId="{6133580F-8E09-4A63-BB9C-E4FB965E006F}" type="sibTrans" cxnId="{8EC988C2-747C-49B6-9EFC-3B689A152F82}">
      <dgm:prSet/>
      <dgm:spPr/>
      <dgm:t>
        <a:bodyPr/>
        <a:lstStyle/>
        <a:p>
          <a:endParaRPr lang="en-US"/>
        </a:p>
      </dgm:t>
    </dgm:pt>
    <dgm:pt modelId="{58CBF027-3452-481F-8FD0-DE6B4BD0DD15}">
      <dgm:prSet phldrT="[Text]"/>
      <dgm:spPr>
        <a:blipFill rotWithShape="0">
          <a:blip xmlns:r="http://schemas.openxmlformats.org/officeDocument/2006/relationships" r:embed="rId3"/>
          <a:stretch>
            <a:fillRect/>
          </a:stretch>
        </a:blipFill>
      </dgm:spPr>
      <dgm:t>
        <a:bodyPr/>
        <a:lstStyle/>
        <a:p>
          <a:r>
            <a:rPr lang="en-US" dirty="0" smtClean="0"/>
            <a:t> </a:t>
          </a:r>
          <a:endParaRPr lang="en-US" dirty="0"/>
        </a:p>
      </dgm:t>
    </dgm:pt>
    <dgm:pt modelId="{3DB4DE1D-3718-4B67-AB8E-EE5E9D1954B4}" type="parTrans" cxnId="{CBC6C8D0-3A34-4106-9B55-B75376FAC222}">
      <dgm:prSet/>
      <dgm:spPr/>
      <dgm:t>
        <a:bodyPr/>
        <a:lstStyle/>
        <a:p>
          <a:endParaRPr lang="en-US"/>
        </a:p>
      </dgm:t>
    </dgm:pt>
    <dgm:pt modelId="{9DB9E138-E751-422B-A963-7BBEF04312D2}" type="sibTrans" cxnId="{CBC6C8D0-3A34-4106-9B55-B75376FAC222}">
      <dgm:prSet/>
      <dgm:spPr/>
      <dgm:t>
        <a:bodyPr/>
        <a:lstStyle/>
        <a:p>
          <a:endParaRPr lang="en-US"/>
        </a:p>
      </dgm:t>
    </dgm:pt>
    <dgm:pt modelId="{0063D147-BD40-44EF-9BF8-8ED9B30AF499}">
      <dgm:prSet phldrT="[Text]"/>
      <dgm:spPr>
        <a:blipFill rotWithShape="0">
          <a:blip xmlns:r="http://schemas.openxmlformats.org/officeDocument/2006/relationships" r:embed="rId4"/>
          <a:stretch>
            <a:fillRect/>
          </a:stretch>
        </a:blipFill>
      </dgm:spPr>
      <dgm:t>
        <a:bodyPr/>
        <a:lstStyle/>
        <a:p>
          <a:r>
            <a:rPr lang="en-US" dirty="0" smtClean="0"/>
            <a:t> </a:t>
          </a:r>
          <a:endParaRPr lang="en-US" dirty="0"/>
        </a:p>
      </dgm:t>
    </dgm:pt>
    <dgm:pt modelId="{6AB63F32-B98D-401A-872B-FA0AD7C0D409}" type="parTrans" cxnId="{677A41DA-9C86-494C-9F9E-F5AA65DAAF9D}">
      <dgm:prSet/>
      <dgm:spPr/>
      <dgm:t>
        <a:bodyPr/>
        <a:lstStyle/>
        <a:p>
          <a:endParaRPr lang="en-US"/>
        </a:p>
      </dgm:t>
    </dgm:pt>
    <dgm:pt modelId="{67547D97-2204-4D46-BACD-E3E54F0C2D13}" type="sibTrans" cxnId="{677A41DA-9C86-494C-9F9E-F5AA65DAAF9D}">
      <dgm:prSet/>
      <dgm:spPr/>
      <dgm:t>
        <a:bodyPr/>
        <a:lstStyle/>
        <a:p>
          <a:endParaRPr lang="en-US"/>
        </a:p>
      </dgm:t>
    </dgm:pt>
    <dgm:pt modelId="{0D9C77AB-C2D6-404F-8E35-9E19EB339777}">
      <dgm:prSet phldrT="[Text]"/>
      <dgm:spPr>
        <a:blipFill rotWithShape="0">
          <a:blip xmlns:r="http://schemas.openxmlformats.org/officeDocument/2006/relationships" r:embed="rId5"/>
          <a:stretch>
            <a:fillRect/>
          </a:stretch>
        </a:blipFill>
      </dgm:spPr>
      <dgm:t>
        <a:bodyPr/>
        <a:lstStyle/>
        <a:p>
          <a:r>
            <a:rPr lang="en-US" dirty="0" smtClean="0"/>
            <a:t> </a:t>
          </a:r>
          <a:endParaRPr lang="en-US" dirty="0"/>
        </a:p>
      </dgm:t>
    </dgm:pt>
    <dgm:pt modelId="{098A46D0-3590-421B-B91D-77B6690A8758}" type="parTrans" cxnId="{300B2FFA-FA0A-4109-9AE9-ADB30E241674}">
      <dgm:prSet/>
      <dgm:spPr/>
      <dgm:t>
        <a:bodyPr/>
        <a:lstStyle/>
        <a:p>
          <a:endParaRPr lang="en-US"/>
        </a:p>
      </dgm:t>
    </dgm:pt>
    <dgm:pt modelId="{DD47ECF0-8243-4624-9F56-ABAAD51E1E69}" type="sibTrans" cxnId="{300B2FFA-FA0A-4109-9AE9-ADB30E241674}">
      <dgm:prSet/>
      <dgm:spPr/>
      <dgm:t>
        <a:bodyPr/>
        <a:lstStyle/>
        <a:p>
          <a:endParaRPr lang="en-US"/>
        </a:p>
      </dgm:t>
    </dgm:pt>
    <dgm:pt modelId="{6F7244E7-A054-461A-9374-256037A8F040}">
      <dgm:prSet phldrT="[Text]"/>
      <dgm:spPr>
        <a:blipFill rotWithShape="0">
          <a:blip xmlns:r="http://schemas.openxmlformats.org/officeDocument/2006/relationships" r:embed="rId6"/>
          <a:stretch>
            <a:fillRect/>
          </a:stretch>
        </a:blipFill>
      </dgm:spPr>
      <dgm:t>
        <a:bodyPr/>
        <a:lstStyle/>
        <a:p>
          <a:r>
            <a:rPr lang="en-US" dirty="0" smtClean="0"/>
            <a:t> </a:t>
          </a:r>
          <a:endParaRPr lang="en-US" dirty="0"/>
        </a:p>
      </dgm:t>
    </dgm:pt>
    <dgm:pt modelId="{08B5CFFD-FF4D-49C6-BBA6-B80B030BF8BB}" type="parTrans" cxnId="{A6077294-2A8D-4F25-8F76-04572C67DD48}">
      <dgm:prSet/>
      <dgm:spPr/>
      <dgm:t>
        <a:bodyPr/>
        <a:lstStyle/>
        <a:p>
          <a:endParaRPr lang="en-US"/>
        </a:p>
      </dgm:t>
    </dgm:pt>
    <dgm:pt modelId="{AF93E6A7-0C88-4BB9-B4A3-B82E79B54BDC}" type="sibTrans" cxnId="{A6077294-2A8D-4F25-8F76-04572C67DD48}">
      <dgm:prSet/>
      <dgm:spPr/>
      <dgm:t>
        <a:bodyPr/>
        <a:lstStyle/>
        <a:p>
          <a:endParaRPr lang="en-US"/>
        </a:p>
      </dgm:t>
    </dgm:pt>
    <dgm:pt modelId="{A5C74F24-FBF4-4D7F-872F-18B1A9810963}">
      <dgm:prSet phldrT="[Text]"/>
      <dgm:spPr>
        <a:blipFill rotWithShape="0">
          <a:blip xmlns:r="http://schemas.openxmlformats.org/officeDocument/2006/relationships" r:embed="rId7"/>
          <a:stretch>
            <a:fillRect/>
          </a:stretch>
        </a:blipFill>
      </dgm:spPr>
      <dgm:t>
        <a:bodyPr/>
        <a:lstStyle/>
        <a:p>
          <a:r>
            <a:rPr lang="en-US" dirty="0" smtClean="0"/>
            <a:t> </a:t>
          </a:r>
          <a:endParaRPr lang="en-US" dirty="0"/>
        </a:p>
      </dgm:t>
    </dgm:pt>
    <dgm:pt modelId="{301035F8-6725-4CCC-8B5A-B321EC3A6B09}" type="parTrans" cxnId="{C24C5497-2DBB-433F-83AC-42A6825E5983}">
      <dgm:prSet/>
      <dgm:spPr/>
      <dgm:t>
        <a:bodyPr/>
        <a:lstStyle/>
        <a:p>
          <a:endParaRPr lang="en-US"/>
        </a:p>
      </dgm:t>
    </dgm:pt>
    <dgm:pt modelId="{9BD7B732-C106-4946-8CBF-454B808779C3}" type="sibTrans" cxnId="{C24C5497-2DBB-433F-83AC-42A6825E5983}">
      <dgm:prSet/>
      <dgm:spPr/>
      <dgm:t>
        <a:bodyPr/>
        <a:lstStyle/>
        <a:p>
          <a:endParaRPr lang="en-US"/>
        </a:p>
      </dgm:t>
    </dgm:pt>
    <dgm:pt modelId="{4DC45ABF-D11F-45A7-88E0-B7C10C625198}">
      <dgm:prSet phldrT="[Text]"/>
      <dgm:spPr>
        <a:blipFill rotWithShape="0">
          <a:blip xmlns:r="http://schemas.openxmlformats.org/officeDocument/2006/relationships" r:embed="rId8"/>
          <a:stretch>
            <a:fillRect/>
          </a:stretch>
        </a:blipFill>
      </dgm:spPr>
      <dgm:t>
        <a:bodyPr/>
        <a:lstStyle/>
        <a:p>
          <a:r>
            <a:rPr lang="en-US" dirty="0" smtClean="0"/>
            <a:t> </a:t>
          </a:r>
          <a:endParaRPr lang="en-US" dirty="0"/>
        </a:p>
      </dgm:t>
    </dgm:pt>
    <dgm:pt modelId="{53A3ADDC-ABDA-48E3-897E-22B2C3B66677}" type="parTrans" cxnId="{461B8CA1-B856-4A44-8195-5824906C7BA6}">
      <dgm:prSet/>
      <dgm:spPr/>
      <dgm:t>
        <a:bodyPr/>
        <a:lstStyle/>
        <a:p>
          <a:endParaRPr lang="en-US"/>
        </a:p>
      </dgm:t>
    </dgm:pt>
    <dgm:pt modelId="{F47D746B-13D9-43EC-8CA4-FF916B2E1EB7}" type="sibTrans" cxnId="{461B8CA1-B856-4A44-8195-5824906C7BA6}">
      <dgm:prSet/>
      <dgm:spPr/>
      <dgm:t>
        <a:bodyPr/>
        <a:lstStyle/>
        <a:p>
          <a:endParaRPr lang="en-US"/>
        </a:p>
      </dgm:t>
    </dgm:pt>
    <dgm:pt modelId="{BBF14C95-DBE9-4A60-B5C2-2F812626DFB6}" type="pres">
      <dgm:prSet presAssocID="{F271A4F6-6A4B-4F07-A1A2-99767784A1DD}" presName="diagram" presStyleCnt="0">
        <dgm:presLayoutVars>
          <dgm:dir/>
          <dgm:resizeHandles val="exact"/>
        </dgm:presLayoutVars>
      </dgm:prSet>
      <dgm:spPr/>
      <dgm:t>
        <a:bodyPr/>
        <a:lstStyle/>
        <a:p>
          <a:endParaRPr lang="en-US"/>
        </a:p>
      </dgm:t>
    </dgm:pt>
    <dgm:pt modelId="{C0D97441-95AF-4557-91B6-6810DA975A5D}" type="pres">
      <dgm:prSet presAssocID="{6D18DD88-1E80-40E8-BA5B-F2D3F323C8A5}" presName="node" presStyleLbl="node1" presStyleIdx="0" presStyleCnt="8">
        <dgm:presLayoutVars>
          <dgm:bulletEnabled val="1"/>
        </dgm:presLayoutVars>
      </dgm:prSet>
      <dgm:spPr/>
      <dgm:t>
        <a:bodyPr/>
        <a:lstStyle/>
        <a:p>
          <a:endParaRPr lang="en-US"/>
        </a:p>
      </dgm:t>
    </dgm:pt>
    <dgm:pt modelId="{E7BEC7A2-B1CC-48BE-9F34-078195E64E21}" type="pres">
      <dgm:prSet presAssocID="{33249ABA-A628-4F17-A295-39C68879E6AF}" presName="sibTrans" presStyleCnt="0"/>
      <dgm:spPr/>
    </dgm:pt>
    <dgm:pt modelId="{778A2AEA-E033-4B5B-B989-1A31AA0E72DF}" type="pres">
      <dgm:prSet presAssocID="{E27B4BB8-1A36-47D0-AAD1-39F890E9023E}" presName="node" presStyleLbl="node1" presStyleIdx="1" presStyleCnt="8">
        <dgm:presLayoutVars>
          <dgm:bulletEnabled val="1"/>
        </dgm:presLayoutVars>
      </dgm:prSet>
      <dgm:spPr/>
      <dgm:t>
        <a:bodyPr/>
        <a:lstStyle/>
        <a:p>
          <a:endParaRPr lang="en-US"/>
        </a:p>
      </dgm:t>
    </dgm:pt>
    <dgm:pt modelId="{6418F67D-9900-4B7B-B047-F5C40A6C6F12}" type="pres">
      <dgm:prSet presAssocID="{6133580F-8E09-4A63-BB9C-E4FB965E006F}" presName="sibTrans" presStyleCnt="0"/>
      <dgm:spPr/>
    </dgm:pt>
    <dgm:pt modelId="{113F226A-3817-428E-A3DE-1B20A71C551D}" type="pres">
      <dgm:prSet presAssocID="{58CBF027-3452-481F-8FD0-DE6B4BD0DD15}" presName="node" presStyleLbl="node1" presStyleIdx="2" presStyleCnt="8">
        <dgm:presLayoutVars>
          <dgm:bulletEnabled val="1"/>
        </dgm:presLayoutVars>
      </dgm:prSet>
      <dgm:spPr/>
      <dgm:t>
        <a:bodyPr/>
        <a:lstStyle/>
        <a:p>
          <a:endParaRPr lang="en-US"/>
        </a:p>
      </dgm:t>
    </dgm:pt>
    <dgm:pt modelId="{CBAE6CF3-8B81-4602-A6EE-9D44153A750B}" type="pres">
      <dgm:prSet presAssocID="{9DB9E138-E751-422B-A963-7BBEF04312D2}" presName="sibTrans" presStyleCnt="0"/>
      <dgm:spPr/>
    </dgm:pt>
    <dgm:pt modelId="{935D58EE-7A1B-45A3-BC8B-AFC55EBD5459}" type="pres">
      <dgm:prSet presAssocID="{0063D147-BD40-44EF-9BF8-8ED9B30AF499}" presName="node" presStyleLbl="node1" presStyleIdx="3" presStyleCnt="8">
        <dgm:presLayoutVars>
          <dgm:bulletEnabled val="1"/>
        </dgm:presLayoutVars>
      </dgm:prSet>
      <dgm:spPr/>
      <dgm:t>
        <a:bodyPr/>
        <a:lstStyle/>
        <a:p>
          <a:endParaRPr lang="en-US"/>
        </a:p>
      </dgm:t>
    </dgm:pt>
    <dgm:pt modelId="{CBEF1FD9-4445-446D-B24A-7597D5900E60}" type="pres">
      <dgm:prSet presAssocID="{67547D97-2204-4D46-BACD-E3E54F0C2D13}" presName="sibTrans" presStyleCnt="0"/>
      <dgm:spPr/>
    </dgm:pt>
    <dgm:pt modelId="{7B8BCD1F-4E1C-44C1-AE3A-13F1A3073A8D}" type="pres">
      <dgm:prSet presAssocID="{0D9C77AB-C2D6-404F-8E35-9E19EB339777}" presName="node" presStyleLbl="node1" presStyleIdx="4" presStyleCnt="8">
        <dgm:presLayoutVars>
          <dgm:bulletEnabled val="1"/>
        </dgm:presLayoutVars>
      </dgm:prSet>
      <dgm:spPr/>
      <dgm:t>
        <a:bodyPr/>
        <a:lstStyle/>
        <a:p>
          <a:endParaRPr lang="en-US"/>
        </a:p>
      </dgm:t>
    </dgm:pt>
    <dgm:pt modelId="{CD3B623A-8B68-4153-B334-D5CC9736A188}" type="pres">
      <dgm:prSet presAssocID="{DD47ECF0-8243-4624-9F56-ABAAD51E1E69}" presName="sibTrans" presStyleCnt="0"/>
      <dgm:spPr/>
    </dgm:pt>
    <dgm:pt modelId="{A38B5050-E769-4CD8-9389-D2EA3E8D9BD8}" type="pres">
      <dgm:prSet presAssocID="{6F7244E7-A054-461A-9374-256037A8F040}" presName="node" presStyleLbl="node1" presStyleIdx="5" presStyleCnt="8">
        <dgm:presLayoutVars>
          <dgm:bulletEnabled val="1"/>
        </dgm:presLayoutVars>
      </dgm:prSet>
      <dgm:spPr/>
      <dgm:t>
        <a:bodyPr/>
        <a:lstStyle/>
        <a:p>
          <a:endParaRPr lang="en-US"/>
        </a:p>
      </dgm:t>
    </dgm:pt>
    <dgm:pt modelId="{5532F5B6-7330-43AF-9D0A-1061D5B94218}" type="pres">
      <dgm:prSet presAssocID="{AF93E6A7-0C88-4BB9-B4A3-B82E79B54BDC}" presName="sibTrans" presStyleCnt="0"/>
      <dgm:spPr/>
    </dgm:pt>
    <dgm:pt modelId="{EB7B9D5C-165B-4CFC-9616-70411928B03F}" type="pres">
      <dgm:prSet presAssocID="{A5C74F24-FBF4-4D7F-872F-18B1A9810963}" presName="node" presStyleLbl="node1" presStyleIdx="6" presStyleCnt="8">
        <dgm:presLayoutVars>
          <dgm:bulletEnabled val="1"/>
        </dgm:presLayoutVars>
      </dgm:prSet>
      <dgm:spPr/>
      <dgm:t>
        <a:bodyPr/>
        <a:lstStyle/>
        <a:p>
          <a:endParaRPr lang="en-US"/>
        </a:p>
      </dgm:t>
    </dgm:pt>
    <dgm:pt modelId="{8FA84D55-32EE-43BD-9E5F-19C18CD062E4}" type="pres">
      <dgm:prSet presAssocID="{9BD7B732-C106-4946-8CBF-454B808779C3}" presName="sibTrans" presStyleCnt="0"/>
      <dgm:spPr/>
    </dgm:pt>
    <dgm:pt modelId="{963C5CD9-067B-423A-A4DB-94AEFF8A0808}" type="pres">
      <dgm:prSet presAssocID="{4DC45ABF-D11F-45A7-88E0-B7C10C625198}" presName="node" presStyleLbl="node1" presStyleIdx="7" presStyleCnt="8">
        <dgm:presLayoutVars>
          <dgm:bulletEnabled val="1"/>
        </dgm:presLayoutVars>
      </dgm:prSet>
      <dgm:spPr/>
      <dgm:t>
        <a:bodyPr/>
        <a:lstStyle/>
        <a:p>
          <a:endParaRPr lang="en-US"/>
        </a:p>
      </dgm:t>
    </dgm:pt>
  </dgm:ptLst>
  <dgm:cxnLst>
    <dgm:cxn modelId="{128FD93B-DA52-4CAB-8AF7-290E78F4D064}" type="presOf" srcId="{0063D147-BD40-44EF-9BF8-8ED9B30AF499}" destId="{935D58EE-7A1B-45A3-BC8B-AFC55EBD5459}" srcOrd="0" destOrd="0" presId="urn:microsoft.com/office/officeart/2005/8/layout/default#2"/>
    <dgm:cxn modelId="{5D62A274-82F8-4CA1-AC10-579E0BD2FD9E}" type="presOf" srcId="{0D9C77AB-C2D6-404F-8E35-9E19EB339777}" destId="{7B8BCD1F-4E1C-44C1-AE3A-13F1A3073A8D}" srcOrd="0" destOrd="0" presId="urn:microsoft.com/office/officeart/2005/8/layout/default#2"/>
    <dgm:cxn modelId="{C24C5497-2DBB-433F-83AC-42A6825E5983}" srcId="{F271A4F6-6A4B-4F07-A1A2-99767784A1DD}" destId="{A5C74F24-FBF4-4D7F-872F-18B1A9810963}" srcOrd="6" destOrd="0" parTransId="{301035F8-6725-4CCC-8B5A-B321EC3A6B09}" sibTransId="{9BD7B732-C106-4946-8CBF-454B808779C3}"/>
    <dgm:cxn modelId="{300B2FFA-FA0A-4109-9AE9-ADB30E241674}" srcId="{F271A4F6-6A4B-4F07-A1A2-99767784A1DD}" destId="{0D9C77AB-C2D6-404F-8E35-9E19EB339777}" srcOrd="4" destOrd="0" parTransId="{098A46D0-3590-421B-B91D-77B6690A8758}" sibTransId="{DD47ECF0-8243-4624-9F56-ABAAD51E1E69}"/>
    <dgm:cxn modelId="{CBC6C8D0-3A34-4106-9B55-B75376FAC222}" srcId="{F271A4F6-6A4B-4F07-A1A2-99767784A1DD}" destId="{58CBF027-3452-481F-8FD0-DE6B4BD0DD15}" srcOrd="2" destOrd="0" parTransId="{3DB4DE1D-3718-4B67-AB8E-EE5E9D1954B4}" sibTransId="{9DB9E138-E751-422B-A963-7BBEF04312D2}"/>
    <dgm:cxn modelId="{CD2A1623-ABD2-4BEA-948F-B6AC6BD39158}" type="presOf" srcId="{A5C74F24-FBF4-4D7F-872F-18B1A9810963}" destId="{EB7B9D5C-165B-4CFC-9616-70411928B03F}" srcOrd="0" destOrd="0" presId="urn:microsoft.com/office/officeart/2005/8/layout/default#2"/>
    <dgm:cxn modelId="{3EC75DD0-2C30-4CE7-B406-FEBF753E47D7}" type="presOf" srcId="{6D18DD88-1E80-40E8-BA5B-F2D3F323C8A5}" destId="{C0D97441-95AF-4557-91B6-6810DA975A5D}" srcOrd="0" destOrd="0" presId="urn:microsoft.com/office/officeart/2005/8/layout/default#2"/>
    <dgm:cxn modelId="{B70F1365-3726-4352-9C03-DC4247209372}" type="presOf" srcId="{F271A4F6-6A4B-4F07-A1A2-99767784A1DD}" destId="{BBF14C95-DBE9-4A60-B5C2-2F812626DFB6}" srcOrd="0" destOrd="0" presId="urn:microsoft.com/office/officeart/2005/8/layout/default#2"/>
    <dgm:cxn modelId="{8EC988C2-747C-49B6-9EFC-3B689A152F82}" srcId="{F271A4F6-6A4B-4F07-A1A2-99767784A1DD}" destId="{E27B4BB8-1A36-47D0-AAD1-39F890E9023E}" srcOrd="1" destOrd="0" parTransId="{3B27A2FC-3093-442A-BEAF-0F2E107F5068}" sibTransId="{6133580F-8E09-4A63-BB9C-E4FB965E006F}"/>
    <dgm:cxn modelId="{467DBD84-AD10-4171-A448-AB05803D4DF4}" type="presOf" srcId="{58CBF027-3452-481F-8FD0-DE6B4BD0DD15}" destId="{113F226A-3817-428E-A3DE-1B20A71C551D}" srcOrd="0" destOrd="0" presId="urn:microsoft.com/office/officeart/2005/8/layout/default#2"/>
    <dgm:cxn modelId="{461B8CA1-B856-4A44-8195-5824906C7BA6}" srcId="{F271A4F6-6A4B-4F07-A1A2-99767784A1DD}" destId="{4DC45ABF-D11F-45A7-88E0-B7C10C625198}" srcOrd="7" destOrd="0" parTransId="{53A3ADDC-ABDA-48E3-897E-22B2C3B66677}" sibTransId="{F47D746B-13D9-43EC-8CA4-FF916B2E1EB7}"/>
    <dgm:cxn modelId="{677A41DA-9C86-494C-9F9E-F5AA65DAAF9D}" srcId="{F271A4F6-6A4B-4F07-A1A2-99767784A1DD}" destId="{0063D147-BD40-44EF-9BF8-8ED9B30AF499}" srcOrd="3" destOrd="0" parTransId="{6AB63F32-B98D-401A-872B-FA0AD7C0D409}" sibTransId="{67547D97-2204-4D46-BACD-E3E54F0C2D13}"/>
    <dgm:cxn modelId="{E42CF0B5-A68A-4259-8B18-DED7A2B71A3A}" srcId="{F271A4F6-6A4B-4F07-A1A2-99767784A1DD}" destId="{6D18DD88-1E80-40E8-BA5B-F2D3F323C8A5}" srcOrd="0" destOrd="0" parTransId="{EF13B59F-350B-4105-BAA6-8E381419D2D1}" sibTransId="{33249ABA-A628-4F17-A295-39C68879E6AF}"/>
    <dgm:cxn modelId="{68918E2C-A948-4BD9-B3ED-BB7577ED33CC}" type="presOf" srcId="{6F7244E7-A054-461A-9374-256037A8F040}" destId="{A38B5050-E769-4CD8-9389-D2EA3E8D9BD8}" srcOrd="0" destOrd="0" presId="urn:microsoft.com/office/officeart/2005/8/layout/default#2"/>
    <dgm:cxn modelId="{0B650FE6-1237-4F57-B98B-2C131DECE99B}" type="presOf" srcId="{4DC45ABF-D11F-45A7-88E0-B7C10C625198}" destId="{963C5CD9-067B-423A-A4DB-94AEFF8A0808}" srcOrd="0" destOrd="0" presId="urn:microsoft.com/office/officeart/2005/8/layout/default#2"/>
    <dgm:cxn modelId="{A6077294-2A8D-4F25-8F76-04572C67DD48}" srcId="{F271A4F6-6A4B-4F07-A1A2-99767784A1DD}" destId="{6F7244E7-A054-461A-9374-256037A8F040}" srcOrd="5" destOrd="0" parTransId="{08B5CFFD-FF4D-49C6-BBA6-B80B030BF8BB}" sibTransId="{AF93E6A7-0C88-4BB9-B4A3-B82E79B54BDC}"/>
    <dgm:cxn modelId="{92045E9C-F8A4-40C3-9E65-359152FF6055}" type="presOf" srcId="{E27B4BB8-1A36-47D0-AAD1-39F890E9023E}" destId="{778A2AEA-E033-4B5B-B989-1A31AA0E72DF}" srcOrd="0" destOrd="0" presId="urn:microsoft.com/office/officeart/2005/8/layout/default#2"/>
    <dgm:cxn modelId="{0C225F61-D737-4E95-8913-755EFCFD15B7}" type="presParOf" srcId="{BBF14C95-DBE9-4A60-B5C2-2F812626DFB6}" destId="{C0D97441-95AF-4557-91B6-6810DA975A5D}" srcOrd="0" destOrd="0" presId="urn:microsoft.com/office/officeart/2005/8/layout/default#2"/>
    <dgm:cxn modelId="{8B09341C-F106-4888-BD2F-6D19F7EF37FC}" type="presParOf" srcId="{BBF14C95-DBE9-4A60-B5C2-2F812626DFB6}" destId="{E7BEC7A2-B1CC-48BE-9F34-078195E64E21}" srcOrd="1" destOrd="0" presId="urn:microsoft.com/office/officeart/2005/8/layout/default#2"/>
    <dgm:cxn modelId="{373B56A4-625A-4086-BDB3-7B0B650E450C}" type="presParOf" srcId="{BBF14C95-DBE9-4A60-B5C2-2F812626DFB6}" destId="{778A2AEA-E033-4B5B-B989-1A31AA0E72DF}" srcOrd="2" destOrd="0" presId="urn:microsoft.com/office/officeart/2005/8/layout/default#2"/>
    <dgm:cxn modelId="{AA791AAB-6BEF-4960-98BF-32686BBA50A1}" type="presParOf" srcId="{BBF14C95-DBE9-4A60-B5C2-2F812626DFB6}" destId="{6418F67D-9900-4B7B-B047-F5C40A6C6F12}" srcOrd="3" destOrd="0" presId="urn:microsoft.com/office/officeart/2005/8/layout/default#2"/>
    <dgm:cxn modelId="{0A594F5A-6E49-4937-B155-D94D235672CC}" type="presParOf" srcId="{BBF14C95-DBE9-4A60-B5C2-2F812626DFB6}" destId="{113F226A-3817-428E-A3DE-1B20A71C551D}" srcOrd="4" destOrd="0" presId="urn:microsoft.com/office/officeart/2005/8/layout/default#2"/>
    <dgm:cxn modelId="{B31ED396-ED65-44E4-8870-58968D2D5033}" type="presParOf" srcId="{BBF14C95-DBE9-4A60-B5C2-2F812626DFB6}" destId="{CBAE6CF3-8B81-4602-A6EE-9D44153A750B}" srcOrd="5" destOrd="0" presId="urn:microsoft.com/office/officeart/2005/8/layout/default#2"/>
    <dgm:cxn modelId="{EC080F02-7558-46B8-8E51-777B6092A0D2}" type="presParOf" srcId="{BBF14C95-DBE9-4A60-B5C2-2F812626DFB6}" destId="{935D58EE-7A1B-45A3-BC8B-AFC55EBD5459}" srcOrd="6" destOrd="0" presId="urn:microsoft.com/office/officeart/2005/8/layout/default#2"/>
    <dgm:cxn modelId="{36A5B70C-0B10-4A82-B129-A47FFEBFCE9A}" type="presParOf" srcId="{BBF14C95-DBE9-4A60-B5C2-2F812626DFB6}" destId="{CBEF1FD9-4445-446D-B24A-7597D5900E60}" srcOrd="7" destOrd="0" presId="urn:microsoft.com/office/officeart/2005/8/layout/default#2"/>
    <dgm:cxn modelId="{64DACD53-D65C-4CA1-B98F-6932C3BE309F}" type="presParOf" srcId="{BBF14C95-DBE9-4A60-B5C2-2F812626DFB6}" destId="{7B8BCD1F-4E1C-44C1-AE3A-13F1A3073A8D}" srcOrd="8" destOrd="0" presId="urn:microsoft.com/office/officeart/2005/8/layout/default#2"/>
    <dgm:cxn modelId="{6C697C5A-4AA6-4D1F-ACB8-3BEE00F49DB8}" type="presParOf" srcId="{BBF14C95-DBE9-4A60-B5C2-2F812626DFB6}" destId="{CD3B623A-8B68-4153-B334-D5CC9736A188}" srcOrd="9" destOrd="0" presId="urn:microsoft.com/office/officeart/2005/8/layout/default#2"/>
    <dgm:cxn modelId="{F075A9C8-2E18-4F6C-AA3B-D03393A168A7}" type="presParOf" srcId="{BBF14C95-DBE9-4A60-B5C2-2F812626DFB6}" destId="{A38B5050-E769-4CD8-9389-D2EA3E8D9BD8}" srcOrd="10" destOrd="0" presId="urn:microsoft.com/office/officeart/2005/8/layout/default#2"/>
    <dgm:cxn modelId="{87C42635-CE10-4CB5-A8A1-4F7534A68D8D}" type="presParOf" srcId="{BBF14C95-DBE9-4A60-B5C2-2F812626DFB6}" destId="{5532F5B6-7330-43AF-9D0A-1061D5B94218}" srcOrd="11" destOrd="0" presId="urn:microsoft.com/office/officeart/2005/8/layout/default#2"/>
    <dgm:cxn modelId="{AC296F8E-BFC3-447E-8ECB-4BB4B81742A2}" type="presParOf" srcId="{BBF14C95-DBE9-4A60-B5C2-2F812626DFB6}" destId="{EB7B9D5C-165B-4CFC-9616-70411928B03F}" srcOrd="12" destOrd="0" presId="urn:microsoft.com/office/officeart/2005/8/layout/default#2"/>
    <dgm:cxn modelId="{BA1C4BDA-663B-4CDB-9879-F14766320F6A}" type="presParOf" srcId="{BBF14C95-DBE9-4A60-B5C2-2F812626DFB6}" destId="{8FA84D55-32EE-43BD-9E5F-19C18CD062E4}" srcOrd="13" destOrd="0" presId="urn:microsoft.com/office/officeart/2005/8/layout/default#2"/>
    <dgm:cxn modelId="{C0B12B36-148D-4BA7-A6EB-5EC90544E07E}" type="presParOf" srcId="{BBF14C95-DBE9-4A60-B5C2-2F812626DFB6}" destId="{963C5CD9-067B-423A-A4DB-94AEFF8A0808}" srcOrd="14" destOrd="0" presId="urn:microsoft.com/office/officeart/2005/8/layout/defaul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7C683E4-CD4E-4A99-BDA6-77C7A6842BA4}" type="doc">
      <dgm:prSet loTypeId="urn:microsoft.com/office/officeart/2005/8/layout/pList1#1" loCatId="list" qsTypeId="urn:microsoft.com/office/officeart/2005/8/quickstyle/simple1" qsCatId="simple" csTypeId="urn:microsoft.com/office/officeart/2005/8/colors/accent5_1" csCatId="accent5" phldr="1"/>
      <dgm:spPr/>
      <dgm:t>
        <a:bodyPr/>
        <a:lstStyle/>
        <a:p>
          <a:endParaRPr lang="en-US"/>
        </a:p>
      </dgm:t>
    </dgm:pt>
    <dgm:pt modelId="{D501702B-2FE7-4A47-99E9-6FF6EF549203}">
      <dgm:prSet phldrT="[Text]"/>
      <dgm:spPr/>
      <dgm:t>
        <a:bodyPr/>
        <a:lstStyle/>
        <a:p>
          <a:r>
            <a:rPr lang="en-US" dirty="0" smtClean="0"/>
            <a:t>Google</a:t>
          </a:r>
          <a:endParaRPr lang="en-US" dirty="0"/>
        </a:p>
      </dgm:t>
    </dgm:pt>
    <dgm:pt modelId="{C6EBFA5E-4619-4BD3-B69B-A7ADB363F8B0}" type="parTrans" cxnId="{BF9F1941-C12A-4CDF-A61A-8ECDC1888E60}">
      <dgm:prSet/>
      <dgm:spPr/>
      <dgm:t>
        <a:bodyPr/>
        <a:lstStyle/>
        <a:p>
          <a:endParaRPr lang="en-US"/>
        </a:p>
      </dgm:t>
    </dgm:pt>
    <dgm:pt modelId="{43DE1651-B4B3-4818-96EC-08569C4AF7C2}" type="sibTrans" cxnId="{BF9F1941-C12A-4CDF-A61A-8ECDC1888E60}">
      <dgm:prSet/>
      <dgm:spPr/>
      <dgm:t>
        <a:bodyPr/>
        <a:lstStyle/>
        <a:p>
          <a:endParaRPr lang="en-US"/>
        </a:p>
      </dgm:t>
    </dgm:pt>
    <dgm:pt modelId="{974380E6-A141-4481-862B-07B585336248}">
      <dgm:prSet phldrT="[Text]"/>
      <dgm:spPr/>
      <dgm:t>
        <a:bodyPr/>
        <a:lstStyle/>
        <a:p>
          <a:r>
            <a:rPr lang="en-US" dirty="0" smtClean="0"/>
            <a:t>Facebook</a:t>
          </a:r>
          <a:endParaRPr lang="en-US" dirty="0"/>
        </a:p>
      </dgm:t>
    </dgm:pt>
    <dgm:pt modelId="{EA1165BC-4781-45A9-8AB6-A6754C8EB15B}" type="parTrans" cxnId="{0BE5B77E-E748-46A2-B97F-E9963B92C9E7}">
      <dgm:prSet/>
      <dgm:spPr/>
      <dgm:t>
        <a:bodyPr/>
        <a:lstStyle/>
        <a:p>
          <a:endParaRPr lang="en-US"/>
        </a:p>
      </dgm:t>
    </dgm:pt>
    <dgm:pt modelId="{6D4B51A2-E4A1-491B-98D6-17ADDF07C24A}" type="sibTrans" cxnId="{0BE5B77E-E748-46A2-B97F-E9963B92C9E7}">
      <dgm:prSet/>
      <dgm:spPr/>
      <dgm:t>
        <a:bodyPr/>
        <a:lstStyle/>
        <a:p>
          <a:endParaRPr lang="en-US"/>
        </a:p>
      </dgm:t>
    </dgm:pt>
    <dgm:pt modelId="{37C950DE-EEFA-4307-A43D-0594F66CBA4A}">
      <dgm:prSet phldrT="[Text]"/>
      <dgm:spPr/>
      <dgm:t>
        <a:bodyPr/>
        <a:lstStyle/>
        <a:p>
          <a:r>
            <a:rPr lang="en-US" dirty="0" smtClean="0"/>
            <a:t>Mozilla</a:t>
          </a:r>
          <a:endParaRPr lang="en-US" dirty="0"/>
        </a:p>
      </dgm:t>
    </dgm:pt>
    <dgm:pt modelId="{4D852937-6962-4B9C-B416-5A019FE8AEB4}" type="parTrans" cxnId="{E19C9C24-8177-4C11-82FD-437FF25300CF}">
      <dgm:prSet/>
      <dgm:spPr/>
      <dgm:t>
        <a:bodyPr/>
        <a:lstStyle/>
        <a:p>
          <a:endParaRPr lang="en-US"/>
        </a:p>
      </dgm:t>
    </dgm:pt>
    <dgm:pt modelId="{9F1FB678-F21C-4171-9E7D-CEA423806C1D}" type="sibTrans" cxnId="{E19C9C24-8177-4C11-82FD-437FF25300CF}">
      <dgm:prSet/>
      <dgm:spPr/>
      <dgm:t>
        <a:bodyPr/>
        <a:lstStyle/>
        <a:p>
          <a:endParaRPr lang="en-US"/>
        </a:p>
      </dgm:t>
    </dgm:pt>
    <dgm:pt modelId="{C126E188-CEAB-4888-BD8A-DFEC2E439827}">
      <dgm:prSet phldrT="[Text]"/>
      <dgm:spPr/>
      <dgm:t>
        <a:bodyPr/>
        <a:lstStyle/>
        <a:p>
          <a:r>
            <a:rPr lang="en-US" dirty="0" smtClean="0"/>
            <a:t>Adobe</a:t>
          </a:r>
          <a:endParaRPr lang="en-US" dirty="0"/>
        </a:p>
      </dgm:t>
    </dgm:pt>
    <dgm:pt modelId="{D05318E3-47BC-4741-8990-C164ACDAF51F}" type="parTrans" cxnId="{97479788-C238-4310-B3A9-1EAD75E51C31}">
      <dgm:prSet/>
      <dgm:spPr/>
      <dgm:t>
        <a:bodyPr/>
        <a:lstStyle/>
        <a:p>
          <a:endParaRPr lang="en-US"/>
        </a:p>
      </dgm:t>
    </dgm:pt>
    <dgm:pt modelId="{4A703E75-6CB2-4F09-8B22-AE3A8FC3EBB4}" type="sibTrans" cxnId="{97479788-C238-4310-B3A9-1EAD75E51C31}">
      <dgm:prSet/>
      <dgm:spPr/>
      <dgm:t>
        <a:bodyPr/>
        <a:lstStyle/>
        <a:p>
          <a:endParaRPr lang="en-US"/>
        </a:p>
      </dgm:t>
    </dgm:pt>
    <dgm:pt modelId="{03CC3DF2-912E-48B3-B95E-52986718220A}">
      <dgm:prSet phldrT="[Text]"/>
      <dgm:spPr/>
      <dgm:t>
        <a:bodyPr/>
        <a:lstStyle/>
        <a:p>
          <a:r>
            <a:rPr lang="en-US" dirty="0" smtClean="0"/>
            <a:t>Foursquare</a:t>
          </a:r>
          <a:endParaRPr lang="en-US" dirty="0"/>
        </a:p>
      </dgm:t>
    </dgm:pt>
    <dgm:pt modelId="{79F534D1-612B-4811-8AA5-12B7D1B252BA}" type="parTrans" cxnId="{89579548-7EDA-4D1D-A168-9C63F92862B2}">
      <dgm:prSet/>
      <dgm:spPr/>
      <dgm:t>
        <a:bodyPr/>
        <a:lstStyle/>
        <a:p>
          <a:endParaRPr lang="en-US"/>
        </a:p>
      </dgm:t>
    </dgm:pt>
    <dgm:pt modelId="{71B6803C-93BB-4313-B83D-5992EE2203BE}" type="sibTrans" cxnId="{89579548-7EDA-4D1D-A168-9C63F92862B2}">
      <dgm:prSet/>
      <dgm:spPr/>
      <dgm:t>
        <a:bodyPr/>
        <a:lstStyle/>
        <a:p>
          <a:endParaRPr lang="en-US"/>
        </a:p>
      </dgm:t>
    </dgm:pt>
    <dgm:pt modelId="{1324395F-91C8-4624-8214-E21D2E1F19AD}">
      <dgm:prSet phldrT="[Text]"/>
      <dgm:spPr/>
      <dgm:t>
        <a:bodyPr/>
        <a:lstStyle/>
        <a:p>
          <a:r>
            <a:rPr lang="en-US" dirty="0" smtClean="0"/>
            <a:t>LinkedIn</a:t>
          </a:r>
          <a:endParaRPr lang="en-US" dirty="0"/>
        </a:p>
      </dgm:t>
    </dgm:pt>
    <dgm:pt modelId="{DFF37F3B-930E-409F-89F5-EC6F1F329824}" type="parTrans" cxnId="{5DAA5F4B-5709-43F8-AB5E-F8D26685C7A8}">
      <dgm:prSet/>
      <dgm:spPr/>
      <dgm:t>
        <a:bodyPr/>
        <a:lstStyle/>
        <a:p>
          <a:endParaRPr lang="en-US"/>
        </a:p>
      </dgm:t>
    </dgm:pt>
    <dgm:pt modelId="{E8CD37E9-A055-484F-9486-1A3089D1841A}" type="sibTrans" cxnId="{5DAA5F4B-5709-43F8-AB5E-F8D26685C7A8}">
      <dgm:prSet/>
      <dgm:spPr/>
      <dgm:t>
        <a:bodyPr/>
        <a:lstStyle/>
        <a:p>
          <a:endParaRPr lang="en-US"/>
        </a:p>
      </dgm:t>
    </dgm:pt>
    <dgm:pt modelId="{ACA77B93-4552-4C4D-97B2-F809704C6065}">
      <dgm:prSet phldrT="[Text]"/>
      <dgm:spPr/>
      <dgm:t>
        <a:bodyPr/>
        <a:lstStyle/>
        <a:p>
          <a:r>
            <a:rPr lang="en-US" dirty="0" smtClean="0"/>
            <a:t>Digg</a:t>
          </a:r>
          <a:endParaRPr lang="en-US" dirty="0"/>
        </a:p>
      </dgm:t>
    </dgm:pt>
    <dgm:pt modelId="{B7703E23-1D6F-4665-B19C-FA17DF38DCD5}" type="parTrans" cxnId="{51AFE784-2875-46A9-8757-FE39DFE21886}">
      <dgm:prSet/>
      <dgm:spPr/>
      <dgm:t>
        <a:bodyPr/>
        <a:lstStyle/>
        <a:p>
          <a:endParaRPr lang="en-US"/>
        </a:p>
      </dgm:t>
    </dgm:pt>
    <dgm:pt modelId="{1C33B8A8-734B-42E5-BA9A-22F0DA174BD7}" type="sibTrans" cxnId="{51AFE784-2875-46A9-8757-FE39DFE21886}">
      <dgm:prSet/>
      <dgm:spPr/>
      <dgm:t>
        <a:bodyPr/>
        <a:lstStyle/>
        <a:p>
          <a:endParaRPr lang="en-US"/>
        </a:p>
      </dgm:t>
    </dgm:pt>
    <dgm:pt modelId="{F872B1D9-F21F-4D70-A41C-8403989C338C}">
      <dgm:prSet phldrT="[Text]"/>
      <dgm:spPr/>
      <dgm:t>
        <a:bodyPr/>
        <a:lstStyle/>
        <a:p>
          <a:r>
            <a:rPr lang="en-US" dirty="0" smtClean="0"/>
            <a:t>McGraw-Hill Education</a:t>
          </a:r>
          <a:endParaRPr lang="en-US" dirty="0"/>
        </a:p>
      </dgm:t>
    </dgm:pt>
    <dgm:pt modelId="{5DEDB3BD-91AE-4455-A163-ECDA88C841A5}" type="parTrans" cxnId="{5AF06C9F-919F-4BEC-9324-A3116DFB5808}">
      <dgm:prSet/>
      <dgm:spPr/>
      <dgm:t>
        <a:bodyPr/>
        <a:lstStyle/>
        <a:p>
          <a:endParaRPr lang="en-US"/>
        </a:p>
      </dgm:t>
    </dgm:pt>
    <dgm:pt modelId="{DA96BA85-D7CB-4797-B230-35FED0ECDE69}" type="sibTrans" cxnId="{5AF06C9F-919F-4BEC-9324-A3116DFB5808}">
      <dgm:prSet/>
      <dgm:spPr/>
      <dgm:t>
        <a:bodyPr/>
        <a:lstStyle/>
        <a:p>
          <a:endParaRPr lang="en-US"/>
        </a:p>
      </dgm:t>
    </dgm:pt>
    <dgm:pt modelId="{AEECA040-A6D7-4C35-8DCE-11900A29D32F}">
      <dgm:prSet phldrT="[Text]"/>
      <dgm:spPr/>
      <dgm:t>
        <a:bodyPr/>
        <a:lstStyle/>
        <a:p>
          <a:r>
            <a:rPr lang="en-US" dirty="0" smtClean="0"/>
            <a:t>Vermont Public Radio</a:t>
          </a:r>
          <a:endParaRPr lang="en-US" dirty="0"/>
        </a:p>
      </dgm:t>
    </dgm:pt>
    <dgm:pt modelId="{C2EF6BDD-B2C6-4611-91B8-CC7B66F8F98A}" type="parTrans" cxnId="{60F58975-4279-43B6-B148-E48FAF6FC26B}">
      <dgm:prSet/>
      <dgm:spPr/>
      <dgm:t>
        <a:bodyPr/>
        <a:lstStyle/>
        <a:p>
          <a:endParaRPr lang="en-US"/>
        </a:p>
      </dgm:t>
    </dgm:pt>
    <dgm:pt modelId="{113A7DE8-A2A0-4550-B267-467B81D8A76C}" type="sibTrans" cxnId="{60F58975-4279-43B6-B148-E48FAF6FC26B}">
      <dgm:prSet/>
      <dgm:spPr/>
      <dgm:t>
        <a:bodyPr/>
        <a:lstStyle/>
        <a:p>
          <a:endParaRPr lang="en-US"/>
        </a:p>
      </dgm:t>
    </dgm:pt>
    <dgm:pt modelId="{5C388429-18D3-46E9-9C5B-4A2CAFFA587E}" type="pres">
      <dgm:prSet presAssocID="{37C683E4-CD4E-4A99-BDA6-77C7A6842BA4}" presName="Name0" presStyleCnt="0">
        <dgm:presLayoutVars>
          <dgm:dir/>
          <dgm:resizeHandles val="exact"/>
        </dgm:presLayoutVars>
      </dgm:prSet>
      <dgm:spPr/>
      <dgm:t>
        <a:bodyPr/>
        <a:lstStyle/>
        <a:p>
          <a:endParaRPr lang="en-US"/>
        </a:p>
      </dgm:t>
    </dgm:pt>
    <dgm:pt modelId="{3CCE2CFF-6B35-4FF8-B17A-A5E9542549D9}" type="pres">
      <dgm:prSet presAssocID="{D501702B-2FE7-4A47-99E9-6FF6EF549203}" presName="compNode" presStyleCnt="0"/>
      <dgm:spPr/>
    </dgm:pt>
    <dgm:pt modelId="{3AA47B77-6ED1-42AD-AD5A-59E17C9F95FE}" type="pres">
      <dgm:prSet presAssocID="{D501702B-2FE7-4A47-99E9-6FF6EF549203}" presName="pictRect" presStyleLbl="node1" presStyleIdx="0" presStyleCnt="9"/>
      <dgm:spPr>
        <a:blipFill rotWithShape="0">
          <a:blip xmlns:r="http://schemas.openxmlformats.org/officeDocument/2006/relationships" r:embed="rId1"/>
          <a:stretch>
            <a:fillRect/>
          </a:stretch>
        </a:blipFill>
      </dgm:spPr>
      <dgm:t>
        <a:bodyPr/>
        <a:lstStyle/>
        <a:p>
          <a:endParaRPr lang="en-US"/>
        </a:p>
      </dgm:t>
    </dgm:pt>
    <dgm:pt modelId="{93A6C9A8-5F48-4279-8A95-1B2D36FCD3EC}" type="pres">
      <dgm:prSet presAssocID="{D501702B-2FE7-4A47-99E9-6FF6EF549203}" presName="textRect" presStyleLbl="revTx" presStyleIdx="0" presStyleCnt="9">
        <dgm:presLayoutVars>
          <dgm:bulletEnabled val="1"/>
        </dgm:presLayoutVars>
      </dgm:prSet>
      <dgm:spPr/>
      <dgm:t>
        <a:bodyPr/>
        <a:lstStyle/>
        <a:p>
          <a:endParaRPr lang="en-US"/>
        </a:p>
      </dgm:t>
    </dgm:pt>
    <dgm:pt modelId="{2832525D-7A7B-4EB4-99F7-C4C40CB0CE63}" type="pres">
      <dgm:prSet presAssocID="{43DE1651-B4B3-4818-96EC-08569C4AF7C2}" presName="sibTrans" presStyleLbl="sibTrans2D1" presStyleIdx="0" presStyleCnt="0"/>
      <dgm:spPr/>
      <dgm:t>
        <a:bodyPr/>
        <a:lstStyle/>
        <a:p>
          <a:endParaRPr lang="en-US"/>
        </a:p>
      </dgm:t>
    </dgm:pt>
    <dgm:pt modelId="{1D4C1073-5A67-44C9-8686-FF74EFADB9DD}" type="pres">
      <dgm:prSet presAssocID="{974380E6-A141-4481-862B-07B585336248}" presName="compNode" presStyleCnt="0"/>
      <dgm:spPr/>
    </dgm:pt>
    <dgm:pt modelId="{27511986-F383-42C4-835F-D5C9783CC67F}" type="pres">
      <dgm:prSet presAssocID="{974380E6-A141-4481-862B-07B585336248}" presName="pictRect" presStyleLbl="node1" presStyleIdx="1" presStyleCnt="9"/>
      <dgm:spPr>
        <a:blipFill rotWithShape="0">
          <a:blip xmlns:r="http://schemas.openxmlformats.org/officeDocument/2006/relationships" r:embed="rId2"/>
          <a:stretch>
            <a:fillRect/>
          </a:stretch>
        </a:blipFill>
      </dgm:spPr>
    </dgm:pt>
    <dgm:pt modelId="{57589DE4-4F46-46CA-B3C2-472F72D0FE8C}" type="pres">
      <dgm:prSet presAssocID="{974380E6-A141-4481-862B-07B585336248}" presName="textRect" presStyleLbl="revTx" presStyleIdx="1" presStyleCnt="9">
        <dgm:presLayoutVars>
          <dgm:bulletEnabled val="1"/>
        </dgm:presLayoutVars>
      </dgm:prSet>
      <dgm:spPr/>
      <dgm:t>
        <a:bodyPr/>
        <a:lstStyle/>
        <a:p>
          <a:endParaRPr lang="en-US"/>
        </a:p>
      </dgm:t>
    </dgm:pt>
    <dgm:pt modelId="{A2329127-ED87-4232-844E-85335F27725F}" type="pres">
      <dgm:prSet presAssocID="{6D4B51A2-E4A1-491B-98D6-17ADDF07C24A}" presName="sibTrans" presStyleLbl="sibTrans2D1" presStyleIdx="0" presStyleCnt="0"/>
      <dgm:spPr/>
      <dgm:t>
        <a:bodyPr/>
        <a:lstStyle/>
        <a:p>
          <a:endParaRPr lang="en-US"/>
        </a:p>
      </dgm:t>
    </dgm:pt>
    <dgm:pt modelId="{E7B113AC-B350-4EE6-AB7B-77414A2EEA8B}" type="pres">
      <dgm:prSet presAssocID="{37C950DE-EEFA-4307-A43D-0594F66CBA4A}" presName="compNode" presStyleCnt="0"/>
      <dgm:spPr/>
    </dgm:pt>
    <dgm:pt modelId="{696C1309-E7C0-4B16-B888-7E0FF274CBCC}" type="pres">
      <dgm:prSet presAssocID="{37C950DE-EEFA-4307-A43D-0594F66CBA4A}" presName="pictRect" presStyleLbl="node1" presStyleIdx="2" presStyleCnt="9"/>
      <dgm:spPr>
        <a:blipFill rotWithShape="0">
          <a:blip xmlns:r="http://schemas.openxmlformats.org/officeDocument/2006/relationships" r:embed="rId3"/>
          <a:stretch>
            <a:fillRect/>
          </a:stretch>
        </a:blipFill>
      </dgm:spPr>
    </dgm:pt>
    <dgm:pt modelId="{D9BA4DE8-3BD2-4631-A1F0-343E35538D40}" type="pres">
      <dgm:prSet presAssocID="{37C950DE-EEFA-4307-A43D-0594F66CBA4A}" presName="textRect" presStyleLbl="revTx" presStyleIdx="2" presStyleCnt="9">
        <dgm:presLayoutVars>
          <dgm:bulletEnabled val="1"/>
        </dgm:presLayoutVars>
      </dgm:prSet>
      <dgm:spPr/>
      <dgm:t>
        <a:bodyPr/>
        <a:lstStyle/>
        <a:p>
          <a:endParaRPr lang="en-US"/>
        </a:p>
      </dgm:t>
    </dgm:pt>
    <dgm:pt modelId="{45735846-D09F-44C0-B7C3-2EB8461B7C36}" type="pres">
      <dgm:prSet presAssocID="{9F1FB678-F21C-4171-9E7D-CEA423806C1D}" presName="sibTrans" presStyleLbl="sibTrans2D1" presStyleIdx="0" presStyleCnt="0"/>
      <dgm:spPr/>
      <dgm:t>
        <a:bodyPr/>
        <a:lstStyle/>
        <a:p>
          <a:endParaRPr lang="en-US"/>
        </a:p>
      </dgm:t>
    </dgm:pt>
    <dgm:pt modelId="{0E39B98E-E47B-45C5-873B-49B023756E21}" type="pres">
      <dgm:prSet presAssocID="{C126E188-CEAB-4888-BD8A-DFEC2E439827}" presName="compNode" presStyleCnt="0"/>
      <dgm:spPr/>
    </dgm:pt>
    <dgm:pt modelId="{5A3D9A78-EB52-4DFA-AFD8-94BF370CE890}" type="pres">
      <dgm:prSet presAssocID="{C126E188-CEAB-4888-BD8A-DFEC2E439827}" presName="pictRect" presStyleLbl="node1" presStyleIdx="3" presStyleCnt="9"/>
      <dgm:spPr>
        <a:blipFill rotWithShape="0">
          <a:blip xmlns:r="http://schemas.openxmlformats.org/officeDocument/2006/relationships" r:embed="rId4"/>
          <a:stretch>
            <a:fillRect/>
          </a:stretch>
        </a:blipFill>
      </dgm:spPr>
    </dgm:pt>
    <dgm:pt modelId="{663C79BF-C979-4576-B39C-65237B0FA80B}" type="pres">
      <dgm:prSet presAssocID="{C126E188-CEAB-4888-BD8A-DFEC2E439827}" presName="textRect" presStyleLbl="revTx" presStyleIdx="3" presStyleCnt="9">
        <dgm:presLayoutVars>
          <dgm:bulletEnabled val="1"/>
        </dgm:presLayoutVars>
      </dgm:prSet>
      <dgm:spPr/>
      <dgm:t>
        <a:bodyPr/>
        <a:lstStyle/>
        <a:p>
          <a:endParaRPr lang="en-US"/>
        </a:p>
      </dgm:t>
    </dgm:pt>
    <dgm:pt modelId="{E1ECBD1C-1CB1-487F-B96D-16EF3B51E2BC}" type="pres">
      <dgm:prSet presAssocID="{4A703E75-6CB2-4F09-8B22-AE3A8FC3EBB4}" presName="sibTrans" presStyleLbl="sibTrans2D1" presStyleIdx="0" presStyleCnt="0"/>
      <dgm:spPr/>
      <dgm:t>
        <a:bodyPr/>
        <a:lstStyle/>
        <a:p>
          <a:endParaRPr lang="en-US"/>
        </a:p>
      </dgm:t>
    </dgm:pt>
    <dgm:pt modelId="{CD924166-17E2-4692-85EC-E0A103240819}" type="pres">
      <dgm:prSet presAssocID="{03CC3DF2-912E-48B3-B95E-52986718220A}" presName="compNode" presStyleCnt="0"/>
      <dgm:spPr/>
    </dgm:pt>
    <dgm:pt modelId="{1E9DC388-868B-437A-BC40-D7A12F244689}" type="pres">
      <dgm:prSet presAssocID="{03CC3DF2-912E-48B3-B95E-52986718220A}" presName="pictRect" presStyleLbl="node1" presStyleIdx="4" presStyleCnt="9"/>
      <dgm:spPr>
        <a:blipFill rotWithShape="0">
          <a:blip xmlns:r="http://schemas.openxmlformats.org/officeDocument/2006/relationships" r:embed="rId5"/>
          <a:stretch>
            <a:fillRect/>
          </a:stretch>
        </a:blipFill>
      </dgm:spPr>
    </dgm:pt>
    <dgm:pt modelId="{F38CCCFD-249D-4FF5-99DF-693A1D7BE443}" type="pres">
      <dgm:prSet presAssocID="{03CC3DF2-912E-48B3-B95E-52986718220A}" presName="textRect" presStyleLbl="revTx" presStyleIdx="4" presStyleCnt="9">
        <dgm:presLayoutVars>
          <dgm:bulletEnabled val="1"/>
        </dgm:presLayoutVars>
      </dgm:prSet>
      <dgm:spPr/>
      <dgm:t>
        <a:bodyPr/>
        <a:lstStyle/>
        <a:p>
          <a:endParaRPr lang="en-US"/>
        </a:p>
      </dgm:t>
    </dgm:pt>
    <dgm:pt modelId="{03C7B12A-2BC3-475A-BFE2-69DA0D90F743}" type="pres">
      <dgm:prSet presAssocID="{71B6803C-93BB-4313-B83D-5992EE2203BE}" presName="sibTrans" presStyleLbl="sibTrans2D1" presStyleIdx="0" presStyleCnt="0"/>
      <dgm:spPr/>
      <dgm:t>
        <a:bodyPr/>
        <a:lstStyle/>
        <a:p>
          <a:endParaRPr lang="en-US"/>
        </a:p>
      </dgm:t>
    </dgm:pt>
    <dgm:pt modelId="{8F37A686-9244-46EC-B54A-6C0498FD1B7C}" type="pres">
      <dgm:prSet presAssocID="{1324395F-91C8-4624-8214-E21D2E1F19AD}" presName="compNode" presStyleCnt="0"/>
      <dgm:spPr/>
    </dgm:pt>
    <dgm:pt modelId="{3A1B0B2D-CD5B-4C05-B08C-2A5101F849C1}" type="pres">
      <dgm:prSet presAssocID="{1324395F-91C8-4624-8214-E21D2E1F19AD}" presName="pictRect" presStyleLbl="node1" presStyleIdx="5" presStyleCnt="9"/>
      <dgm:spPr>
        <a:blipFill rotWithShape="0">
          <a:blip xmlns:r="http://schemas.openxmlformats.org/officeDocument/2006/relationships" r:embed="rId6"/>
          <a:stretch>
            <a:fillRect/>
          </a:stretch>
        </a:blipFill>
      </dgm:spPr>
    </dgm:pt>
    <dgm:pt modelId="{BEBE8716-09BC-4815-A36A-2DA68E290539}" type="pres">
      <dgm:prSet presAssocID="{1324395F-91C8-4624-8214-E21D2E1F19AD}" presName="textRect" presStyleLbl="revTx" presStyleIdx="5" presStyleCnt="9">
        <dgm:presLayoutVars>
          <dgm:bulletEnabled val="1"/>
        </dgm:presLayoutVars>
      </dgm:prSet>
      <dgm:spPr/>
      <dgm:t>
        <a:bodyPr/>
        <a:lstStyle/>
        <a:p>
          <a:endParaRPr lang="en-US"/>
        </a:p>
      </dgm:t>
    </dgm:pt>
    <dgm:pt modelId="{660E5BE2-A92B-4759-B8D9-9012B91F3605}" type="pres">
      <dgm:prSet presAssocID="{E8CD37E9-A055-484F-9486-1A3089D1841A}" presName="sibTrans" presStyleLbl="sibTrans2D1" presStyleIdx="0" presStyleCnt="0"/>
      <dgm:spPr/>
      <dgm:t>
        <a:bodyPr/>
        <a:lstStyle/>
        <a:p>
          <a:endParaRPr lang="en-US"/>
        </a:p>
      </dgm:t>
    </dgm:pt>
    <dgm:pt modelId="{223A598A-AFE5-4C39-99F6-3A510E18EB0F}" type="pres">
      <dgm:prSet presAssocID="{ACA77B93-4552-4C4D-97B2-F809704C6065}" presName="compNode" presStyleCnt="0"/>
      <dgm:spPr/>
    </dgm:pt>
    <dgm:pt modelId="{640EA632-5192-41FB-811C-48E487BB24D9}" type="pres">
      <dgm:prSet presAssocID="{ACA77B93-4552-4C4D-97B2-F809704C6065}" presName="pictRect" presStyleLbl="node1" presStyleIdx="6" presStyleCnt="9"/>
      <dgm:spPr>
        <a:blipFill rotWithShape="0">
          <a:blip xmlns:r="http://schemas.openxmlformats.org/officeDocument/2006/relationships" r:embed="rId7"/>
          <a:stretch>
            <a:fillRect/>
          </a:stretch>
        </a:blipFill>
      </dgm:spPr>
    </dgm:pt>
    <dgm:pt modelId="{71DB8B88-BC76-4AF0-B25F-5845A219F84C}" type="pres">
      <dgm:prSet presAssocID="{ACA77B93-4552-4C4D-97B2-F809704C6065}" presName="textRect" presStyleLbl="revTx" presStyleIdx="6" presStyleCnt="9">
        <dgm:presLayoutVars>
          <dgm:bulletEnabled val="1"/>
        </dgm:presLayoutVars>
      </dgm:prSet>
      <dgm:spPr/>
      <dgm:t>
        <a:bodyPr/>
        <a:lstStyle/>
        <a:p>
          <a:endParaRPr lang="en-US"/>
        </a:p>
      </dgm:t>
    </dgm:pt>
    <dgm:pt modelId="{5441D631-D9ED-44DB-844B-BE6DE69E12A6}" type="pres">
      <dgm:prSet presAssocID="{1C33B8A8-734B-42E5-BA9A-22F0DA174BD7}" presName="sibTrans" presStyleLbl="sibTrans2D1" presStyleIdx="0" presStyleCnt="0"/>
      <dgm:spPr/>
      <dgm:t>
        <a:bodyPr/>
        <a:lstStyle/>
        <a:p>
          <a:endParaRPr lang="en-US"/>
        </a:p>
      </dgm:t>
    </dgm:pt>
    <dgm:pt modelId="{35609A91-6FF4-4598-9814-486C6E241607}" type="pres">
      <dgm:prSet presAssocID="{F872B1D9-F21F-4D70-A41C-8403989C338C}" presName="compNode" presStyleCnt="0"/>
      <dgm:spPr/>
    </dgm:pt>
    <dgm:pt modelId="{61EA8798-E03D-41E6-98D1-7DE34FF6A072}" type="pres">
      <dgm:prSet presAssocID="{F872B1D9-F21F-4D70-A41C-8403989C338C}" presName="pictRect" presStyleLbl="node1" presStyleIdx="7" presStyleCnt="9"/>
      <dgm:spPr>
        <a:blipFill rotWithShape="0">
          <a:blip xmlns:r="http://schemas.openxmlformats.org/officeDocument/2006/relationships" r:embed="rId8"/>
          <a:stretch>
            <a:fillRect/>
          </a:stretch>
        </a:blipFill>
      </dgm:spPr>
    </dgm:pt>
    <dgm:pt modelId="{36B093C4-5F1D-4F83-A822-D98DFB8BFF2E}" type="pres">
      <dgm:prSet presAssocID="{F872B1D9-F21F-4D70-A41C-8403989C338C}" presName="textRect" presStyleLbl="revTx" presStyleIdx="7" presStyleCnt="9">
        <dgm:presLayoutVars>
          <dgm:bulletEnabled val="1"/>
        </dgm:presLayoutVars>
      </dgm:prSet>
      <dgm:spPr/>
      <dgm:t>
        <a:bodyPr/>
        <a:lstStyle/>
        <a:p>
          <a:endParaRPr lang="en-US"/>
        </a:p>
      </dgm:t>
    </dgm:pt>
    <dgm:pt modelId="{197ABC09-09C1-40CB-A476-735E5B94B8A3}" type="pres">
      <dgm:prSet presAssocID="{DA96BA85-D7CB-4797-B230-35FED0ECDE69}" presName="sibTrans" presStyleLbl="sibTrans2D1" presStyleIdx="0" presStyleCnt="0"/>
      <dgm:spPr/>
      <dgm:t>
        <a:bodyPr/>
        <a:lstStyle/>
        <a:p>
          <a:endParaRPr lang="en-US"/>
        </a:p>
      </dgm:t>
    </dgm:pt>
    <dgm:pt modelId="{38A95440-CD55-49E5-A9DF-AEC2B36C8A42}" type="pres">
      <dgm:prSet presAssocID="{AEECA040-A6D7-4C35-8DCE-11900A29D32F}" presName="compNode" presStyleCnt="0"/>
      <dgm:spPr/>
    </dgm:pt>
    <dgm:pt modelId="{4ADDC6F3-2F88-4F8C-A13F-A220FB9C77E8}" type="pres">
      <dgm:prSet presAssocID="{AEECA040-A6D7-4C35-8DCE-11900A29D32F}" presName="pictRect" presStyleLbl="node1" presStyleIdx="8" presStyleCnt="9"/>
      <dgm:spPr>
        <a:blipFill rotWithShape="0">
          <a:blip xmlns:r="http://schemas.openxmlformats.org/officeDocument/2006/relationships" r:embed="rId9"/>
          <a:stretch>
            <a:fillRect/>
          </a:stretch>
        </a:blipFill>
      </dgm:spPr>
    </dgm:pt>
    <dgm:pt modelId="{7E6B6D0B-A438-474B-BD77-8C58E88467D3}" type="pres">
      <dgm:prSet presAssocID="{AEECA040-A6D7-4C35-8DCE-11900A29D32F}" presName="textRect" presStyleLbl="revTx" presStyleIdx="8" presStyleCnt="9">
        <dgm:presLayoutVars>
          <dgm:bulletEnabled val="1"/>
        </dgm:presLayoutVars>
      </dgm:prSet>
      <dgm:spPr/>
      <dgm:t>
        <a:bodyPr/>
        <a:lstStyle/>
        <a:p>
          <a:endParaRPr lang="en-US"/>
        </a:p>
      </dgm:t>
    </dgm:pt>
  </dgm:ptLst>
  <dgm:cxnLst>
    <dgm:cxn modelId="{2D990B0E-FA47-4402-BCF0-E9D39102E728}" type="presOf" srcId="{ACA77B93-4552-4C4D-97B2-F809704C6065}" destId="{71DB8B88-BC76-4AF0-B25F-5845A219F84C}" srcOrd="0" destOrd="0" presId="urn:microsoft.com/office/officeart/2005/8/layout/pList1#1"/>
    <dgm:cxn modelId="{D928FDD1-277B-4465-AD47-37F201792246}" type="presOf" srcId="{9F1FB678-F21C-4171-9E7D-CEA423806C1D}" destId="{45735846-D09F-44C0-B7C3-2EB8461B7C36}" srcOrd="0" destOrd="0" presId="urn:microsoft.com/office/officeart/2005/8/layout/pList1#1"/>
    <dgm:cxn modelId="{CD05A573-6B8B-4366-A954-909DF8A12CDF}" type="presOf" srcId="{43DE1651-B4B3-4818-96EC-08569C4AF7C2}" destId="{2832525D-7A7B-4EB4-99F7-C4C40CB0CE63}" srcOrd="0" destOrd="0" presId="urn:microsoft.com/office/officeart/2005/8/layout/pList1#1"/>
    <dgm:cxn modelId="{0BE5B77E-E748-46A2-B97F-E9963B92C9E7}" srcId="{37C683E4-CD4E-4A99-BDA6-77C7A6842BA4}" destId="{974380E6-A141-4481-862B-07B585336248}" srcOrd="1" destOrd="0" parTransId="{EA1165BC-4781-45A9-8AB6-A6754C8EB15B}" sibTransId="{6D4B51A2-E4A1-491B-98D6-17ADDF07C24A}"/>
    <dgm:cxn modelId="{5AF06C9F-919F-4BEC-9324-A3116DFB5808}" srcId="{37C683E4-CD4E-4A99-BDA6-77C7A6842BA4}" destId="{F872B1D9-F21F-4D70-A41C-8403989C338C}" srcOrd="7" destOrd="0" parTransId="{5DEDB3BD-91AE-4455-A163-ECDA88C841A5}" sibTransId="{DA96BA85-D7CB-4797-B230-35FED0ECDE69}"/>
    <dgm:cxn modelId="{51AFE784-2875-46A9-8757-FE39DFE21886}" srcId="{37C683E4-CD4E-4A99-BDA6-77C7A6842BA4}" destId="{ACA77B93-4552-4C4D-97B2-F809704C6065}" srcOrd="6" destOrd="0" parTransId="{B7703E23-1D6F-4665-B19C-FA17DF38DCD5}" sibTransId="{1C33B8A8-734B-42E5-BA9A-22F0DA174BD7}"/>
    <dgm:cxn modelId="{45FB70FD-6B22-4035-BB51-BBBE202CB714}" type="presOf" srcId="{974380E6-A141-4481-862B-07B585336248}" destId="{57589DE4-4F46-46CA-B3C2-472F72D0FE8C}" srcOrd="0" destOrd="0" presId="urn:microsoft.com/office/officeart/2005/8/layout/pList1#1"/>
    <dgm:cxn modelId="{E19C9C24-8177-4C11-82FD-437FF25300CF}" srcId="{37C683E4-CD4E-4A99-BDA6-77C7A6842BA4}" destId="{37C950DE-EEFA-4307-A43D-0594F66CBA4A}" srcOrd="2" destOrd="0" parTransId="{4D852937-6962-4B9C-B416-5A019FE8AEB4}" sibTransId="{9F1FB678-F21C-4171-9E7D-CEA423806C1D}"/>
    <dgm:cxn modelId="{60F58975-4279-43B6-B148-E48FAF6FC26B}" srcId="{37C683E4-CD4E-4A99-BDA6-77C7A6842BA4}" destId="{AEECA040-A6D7-4C35-8DCE-11900A29D32F}" srcOrd="8" destOrd="0" parTransId="{C2EF6BDD-B2C6-4611-91B8-CC7B66F8F98A}" sibTransId="{113A7DE8-A2A0-4550-B267-467B81D8A76C}"/>
    <dgm:cxn modelId="{F6E4EB69-78D7-4452-9525-A1A2925B1066}" type="presOf" srcId="{71B6803C-93BB-4313-B83D-5992EE2203BE}" destId="{03C7B12A-2BC3-475A-BFE2-69DA0D90F743}" srcOrd="0" destOrd="0" presId="urn:microsoft.com/office/officeart/2005/8/layout/pList1#1"/>
    <dgm:cxn modelId="{69844C48-89B2-4026-9522-3BA86C51E296}" type="presOf" srcId="{03CC3DF2-912E-48B3-B95E-52986718220A}" destId="{F38CCCFD-249D-4FF5-99DF-693A1D7BE443}" srcOrd="0" destOrd="0" presId="urn:microsoft.com/office/officeart/2005/8/layout/pList1#1"/>
    <dgm:cxn modelId="{AE1F2221-43E4-4FCA-9788-791DF031AFB5}" type="presOf" srcId="{DA96BA85-D7CB-4797-B230-35FED0ECDE69}" destId="{197ABC09-09C1-40CB-A476-735E5B94B8A3}" srcOrd="0" destOrd="0" presId="urn:microsoft.com/office/officeart/2005/8/layout/pList1#1"/>
    <dgm:cxn modelId="{5EB35E13-FEED-4623-994A-B10E167167DC}" type="presOf" srcId="{1C33B8A8-734B-42E5-BA9A-22F0DA174BD7}" destId="{5441D631-D9ED-44DB-844B-BE6DE69E12A6}" srcOrd="0" destOrd="0" presId="urn:microsoft.com/office/officeart/2005/8/layout/pList1#1"/>
    <dgm:cxn modelId="{2F405C38-F591-4C31-873F-BA2773BFE012}" type="presOf" srcId="{1324395F-91C8-4624-8214-E21D2E1F19AD}" destId="{BEBE8716-09BC-4815-A36A-2DA68E290539}" srcOrd="0" destOrd="0" presId="urn:microsoft.com/office/officeart/2005/8/layout/pList1#1"/>
    <dgm:cxn modelId="{D219B4DC-D181-4119-A833-A86B1453F10E}" type="presOf" srcId="{C126E188-CEAB-4888-BD8A-DFEC2E439827}" destId="{663C79BF-C979-4576-B39C-65237B0FA80B}" srcOrd="0" destOrd="0" presId="urn:microsoft.com/office/officeart/2005/8/layout/pList1#1"/>
    <dgm:cxn modelId="{97479788-C238-4310-B3A9-1EAD75E51C31}" srcId="{37C683E4-CD4E-4A99-BDA6-77C7A6842BA4}" destId="{C126E188-CEAB-4888-BD8A-DFEC2E439827}" srcOrd="3" destOrd="0" parTransId="{D05318E3-47BC-4741-8990-C164ACDAF51F}" sibTransId="{4A703E75-6CB2-4F09-8B22-AE3A8FC3EBB4}"/>
    <dgm:cxn modelId="{76507C84-324A-4EC9-9C4D-D6FE4A27CA6C}" type="presOf" srcId="{E8CD37E9-A055-484F-9486-1A3089D1841A}" destId="{660E5BE2-A92B-4759-B8D9-9012B91F3605}" srcOrd="0" destOrd="0" presId="urn:microsoft.com/office/officeart/2005/8/layout/pList1#1"/>
    <dgm:cxn modelId="{5DAA5F4B-5709-43F8-AB5E-F8D26685C7A8}" srcId="{37C683E4-CD4E-4A99-BDA6-77C7A6842BA4}" destId="{1324395F-91C8-4624-8214-E21D2E1F19AD}" srcOrd="5" destOrd="0" parTransId="{DFF37F3B-930E-409F-89F5-EC6F1F329824}" sibTransId="{E8CD37E9-A055-484F-9486-1A3089D1841A}"/>
    <dgm:cxn modelId="{1A7102B6-5C90-4409-8409-91B8BC788A27}" type="presOf" srcId="{4A703E75-6CB2-4F09-8B22-AE3A8FC3EBB4}" destId="{E1ECBD1C-1CB1-487F-B96D-16EF3B51E2BC}" srcOrd="0" destOrd="0" presId="urn:microsoft.com/office/officeart/2005/8/layout/pList1#1"/>
    <dgm:cxn modelId="{D52B13B0-8AB0-4493-8D65-346D5E4F2F48}" type="presOf" srcId="{D501702B-2FE7-4A47-99E9-6FF6EF549203}" destId="{93A6C9A8-5F48-4279-8A95-1B2D36FCD3EC}" srcOrd="0" destOrd="0" presId="urn:microsoft.com/office/officeart/2005/8/layout/pList1#1"/>
    <dgm:cxn modelId="{BF9F1941-C12A-4CDF-A61A-8ECDC1888E60}" srcId="{37C683E4-CD4E-4A99-BDA6-77C7A6842BA4}" destId="{D501702B-2FE7-4A47-99E9-6FF6EF549203}" srcOrd="0" destOrd="0" parTransId="{C6EBFA5E-4619-4BD3-B69B-A7ADB363F8B0}" sibTransId="{43DE1651-B4B3-4818-96EC-08569C4AF7C2}"/>
    <dgm:cxn modelId="{89579548-7EDA-4D1D-A168-9C63F92862B2}" srcId="{37C683E4-CD4E-4A99-BDA6-77C7A6842BA4}" destId="{03CC3DF2-912E-48B3-B95E-52986718220A}" srcOrd="4" destOrd="0" parTransId="{79F534D1-612B-4811-8AA5-12B7D1B252BA}" sibTransId="{71B6803C-93BB-4313-B83D-5992EE2203BE}"/>
    <dgm:cxn modelId="{131857BD-F69E-4AE0-9180-9B9F8F0A1AC0}" type="presOf" srcId="{F872B1D9-F21F-4D70-A41C-8403989C338C}" destId="{36B093C4-5F1D-4F83-A822-D98DFB8BFF2E}" srcOrd="0" destOrd="0" presId="urn:microsoft.com/office/officeart/2005/8/layout/pList1#1"/>
    <dgm:cxn modelId="{444E6F3D-079B-4F1B-B88F-D91F8FB16A85}" type="presOf" srcId="{37C950DE-EEFA-4307-A43D-0594F66CBA4A}" destId="{D9BA4DE8-3BD2-4631-A1F0-343E35538D40}" srcOrd="0" destOrd="0" presId="urn:microsoft.com/office/officeart/2005/8/layout/pList1#1"/>
    <dgm:cxn modelId="{C4EFF48A-D81A-4994-92B7-A7A27C74F111}" type="presOf" srcId="{AEECA040-A6D7-4C35-8DCE-11900A29D32F}" destId="{7E6B6D0B-A438-474B-BD77-8C58E88467D3}" srcOrd="0" destOrd="0" presId="urn:microsoft.com/office/officeart/2005/8/layout/pList1#1"/>
    <dgm:cxn modelId="{907E1B2D-F44A-4441-A724-EA8D831A2089}" type="presOf" srcId="{37C683E4-CD4E-4A99-BDA6-77C7A6842BA4}" destId="{5C388429-18D3-46E9-9C5B-4A2CAFFA587E}" srcOrd="0" destOrd="0" presId="urn:microsoft.com/office/officeart/2005/8/layout/pList1#1"/>
    <dgm:cxn modelId="{8C1B9C8D-C4DF-45C1-85A1-FCC947CADED1}" type="presOf" srcId="{6D4B51A2-E4A1-491B-98D6-17ADDF07C24A}" destId="{A2329127-ED87-4232-844E-85335F27725F}" srcOrd="0" destOrd="0" presId="urn:microsoft.com/office/officeart/2005/8/layout/pList1#1"/>
    <dgm:cxn modelId="{49E530BA-B4E2-47A6-AD14-AA65C93568AF}" type="presParOf" srcId="{5C388429-18D3-46E9-9C5B-4A2CAFFA587E}" destId="{3CCE2CFF-6B35-4FF8-B17A-A5E9542549D9}" srcOrd="0" destOrd="0" presId="urn:microsoft.com/office/officeart/2005/8/layout/pList1#1"/>
    <dgm:cxn modelId="{7BF25CA0-DA21-4E34-AC40-1C2B0F2329F6}" type="presParOf" srcId="{3CCE2CFF-6B35-4FF8-B17A-A5E9542549D9}" destId="{3AA47B77-6ED1-42AD-AD5A-59E17C9F95FE}" srcOrd="0" destOrd="0" presId="urn:microsoft.com/office/officeart/2005/8/layout/pList1#1"/>
    <dgm:cxn modelId="{4DC2EC02-9B0D-47B4-A0E8-915AE052A9B4}" type="presParOf" srcId="{3CCE2CFF-6B35-4FF8-B17A-A5E9542549D9}" destId="{93A6C9A8-5F48-4279-8A95-1B2D36FCD3EC}" srcOrd="1" destOrd="0" presId="urn:microsoft.com/office/officeart/2005/8/layout/pList1#1"/>
    <dgm:cxn modelId="{DBC534BC-F27F-4D8D-98D7-706C840EA221}" type="presParOf" srcId="{5C388429-18D3-46E9-9C5B-4A2CAFFA587E}" destId="{2832525D-7A7B-4EB4-99F7-C4C40CB0CE63}" srcOrd="1" destOrd="0" presId="urn:microsoft.com/office/officeart/2005/8/layout/pList1#1"/>
    <dgm:cxn modelId="{9CDAECB3-0914-432C-BDD1-1C3979FC0F03}" type="presParOf" srcId="{5C388429-18D3-46E9-9C5B-4A2CAFFA587E}" destId="{1D4C1073-5A67-44C9-8686-FF74EFADB9DD}" srcOrd="2" destOrd="0" presId="urn:microsoft.com/office/officeart/2005/8/layout/pList1#1"/>
    <dgm:cxn modelId="{3443909D-C854-4E50-8516-7EA160E00C7A}" type="presParOf" srcId="{1D4C1073-5A67-44C9-8686-FF74EFADB9DD}" destId="{27511986-F383-42C4-835F-D5C9783CC67F}" srcOrd="0" destOrd="0" presId="urn:microsoft.com/office/officeart/2005/8/layout/pList1#1"/>
    <dgm:cxn modelId="{B7005BA5-177D-417D-8026-4058F60F8D2A}" type="presParOf" srcId="{1D4C1073-5A67-44C9-8686-FF74EFADB9DD}" destId="{57589DE4-4F46-46CA-B3C2-472F72D0FE8C}" srcOrd="1" destOrd="0" presId="urn:microsoft.com/office/officeart/2005/8/layout/pList1#1"/>
    <dgm:cxn modelId="{C6D37B1D-2137-4996-9A45-E372F367AB83}" type="presParOf" srcId="{5C388429-18D3-46E9-9C5B-4A2CAFFA587E}" destId="{A2329127-ED87-4232-844E-85335F27725F}" srcOrd="3" destOrd="0" presId="urn:microsoft.com/office/officeart/2005/8/layout/pList1#1"/>
    <dgm:cxn modelId="{101FC841-F0F4-46BA-B970-DAB978411CB8}" type="presParOf" srcId="{5C388429-18D3-46E9-9C5B-4A2CAFFA587E}" destId="{E7B113AC-B350-4EE6-AB7B-77414A2EEA8B}" srcOrd="4" destOrd="0" presId="urn:microsoft.com/office/officeart/2005/8/layout/pList1#1"/>
    <dgm:cxn modelId="{E16FFDB5-D4D3-4CB8-901F-42D8AAAACFE5}" type="presParOf" srcId="{E7B113AC-B350-4EE6-AB7B-77414A2EEA8B}" destId="{696C1309-E7C0-4B16-B888-7E0FF274CBCC}" srcOrd="0" destOrd="0" presId="urn:microsoft.com/office/officeart/2005/8/layout/pList1#1"/>
    <dgm:cxn modelId="{05046C63-DB0C-4CF2-B416-6822E5AD0423}" type="presParOf" srcId="{E7B113AC-B350-4EE6-AB7B-77414A2EEA8B}" destId="{D9BA4DE8-3BD2-4631-A1F0-343E35538D40}" srcOrd="1" destOrd="0" presId="urn:microsoft.com/office/officeart/2005/8/layout/pList1#1"/>
    <dgm:cxn modelId="{3FD97637-4877-4839-92D3-C95281FAEA9E}" type="presParOf" srcId="{5C388429-18D3-46E9-9C5B-4A2CAFFA587E}" destId="{45735846-D09F-44C0-B7C3-2EB8461B7C36}" srcOrd="5" destOrd="0" presId="urn:microsoft.com/office/officeart/2005/8/layout/pList1#1"/>
    <dgm:cxn modelId="{42E5A277-08F7-4788-9ED1-BCA8A93B7694}" type="presParOf" srcId="{5C388429-18D3-46E9-9C5B-4A2CAFFA587E}" destId="{0E39B98E-E47B-45C5-873B-49B023756E21}" srcOrd="6" destOrd="0" presId="urn:microsoft.com/office/officeart/2005/8/layout/pList1#1"/>
    <dgm:cxn modelId="{F6081C81-ABE0-449C-B153-326F8681DBF5}" type="presParOf" srcId="{0E39B98E-E47B-45C5-873B-49B023756E21}" destId="{5A3D9A78-EB52-4DFA-AFD8-94BF370CE890}" srcOrd="0" destOrd="0" presId="urn:microsoft.com/office/officeart/2005/8/layout/pList1#1"/>
    <dgm:cxn modelId="{64B4138C-1DE6-4730-8673-5BBC9517BDE7}" type="presParOf" srcId="{0E39B98E-E47B-45C5-873B-49B023756E21}" destId="{663C79BF-C979-4576-B39C-65237B0FA80B}" srcOrd="1" destOrd="0" presId="urn:microsoft.com/office/officeart/2005/8/layout/pList1#1"/>
    <dgm:cxn modelId="{89EBCA4B-197C-4FFD-B8ED-A3245CB7A3B6}" type="presParOf" srcId="{5C388429-18D3-46E9-9C5B-4A2CAFFA587E}" destId="{E1ECBD1C-1CB1-487F-B96D-16EF3B51E2BC}" srcOrd="7" destOrd="0" presId="urn:microsoft.com/office/officeart/2005/8/layout/pList1#1"/>
    <dgm:cxn modelId="{6778D197-79A5-49D4-AECB-DCA3347F5B5C}" type="presParOf" srcId="{5C388429-18D3-46E9-9C5B-4A2CAFFA587E}" destId="{CD924166-17E2-4692-85EC-E0A103240819}" srcOrd="8" destOrd="0" presId="urn:microsoft.com/office/officeart/2005/8/layout/pList1#1"/>
    <dgm:cxn modelId="{32F0D064-F741-45BB-906B-93051663428E}" type="presParOf" srcId="{CD924166-17E2-4692-85EC-E0A103240819}" destId="{1E9DC388-868B-437A-BC40-D7A12F244689}" srcOrd="0" destOrd="0" presId="urn:microsoft.com/office/officeart/2005/8/layout/pList1#1"/>
    <dgm:cxn modelId="{FF9FB6B3-A276-4505-B752-906EA0F16EB1}" type="presParOf" srcId="{CD924166-17E2-4692-85EC-E0A103240819}" destId="{F38CCCFD-249D-4FF5-99DF-693A1D7BE443}" srcOrd="1" destOrd="0" presId="urn:microsoft.com/office/officeart/2005/8/layout/pList1#1"/>
    <dgm:cxn modelId="{8F7F5EB1-A040-4876-8FAA-0CAA7F0D426A}" type="presParOf" srcId="{5C388429-18D3-46E9-9C5B-4A2CAFFA587E}" destId="{03C7B12A-2BC3-475A-BFE2-69DA0D90F743}" srcOrd="9" destOrd="0" presId="urn:microsoft.com/office/officeart/2005/8/layout/pList1#1"/>
    <dgm:cxn modelId="{D5AF27D0-F9C1-43F2-9791-DC5B3C3A5944}" type="presParOf" srcId="{5C388429-18D3-46E9-9C5B-4A2CAFFA587E}" destId="{8F37A686-9244-46EC-B54A-6C0498FD1B7C}" srcOrd="10" destOrd="0" presId="urn:microsoft.com/office/officeart/2005/8/layout/pList1#1"/>
    <dgm:cxn modelId="{3A2EB02C-1F48-4CA3-B196-24BD2951C8F7}" type="presParOf" srcId="{8F37A686-9244-46EC-B54A-6C0498FD1B7C}" destId="{3A1B0B2D-CD5B-4C05-B08C-2A5101F849C1}" srcOrd="0" destOrd="0" presId="urn:microsoft.com/office/officeart/2005/8/layout/pList1#1"/>
    <dgm:cxn modelId="{40FA74DD-5F14-44F0-9C00-53B941280687}" type="presParOf" srcId="{8F37A686-9244-46EC-B54A-6C0498FD1B7C}" destId="{BEBE8716-09BC-4815-A36A-2DA68E290539}" srcOrd="1" destOrd="0" presId="urn:microsoft.com/office/officeart/2005/8/layout/pList1#1"/>
    <dgm:cxn modelId="{5A895B45-FE14-47F3-A224-EF689845D882}" type="presParOf" srcId="{5C388429-18D3-46E9-9C5B-4A2CAFFA587E}" destId="{660E5BE2-A92B-4759-B8D9-9012B91F3605}" srcOrd="11" destOrd="0" presId="urn:microsoft.com/office/officeart/2005/8/layout/pList1#1"/>
    <dgm:cxn modelId="{88BCEA59-7B85-4855-93F3-12187E49E5A6}" type="presParOf" srcId="{5C388429-18D3-46E9-9C5B-4A2CAFFA587E}" destId="{223A598A-AFE5-4C39-99F6-3A510E18EB0F}" srcOrd="12" destOrd="0" presId="urn:microsoft.com/office/officeart/2005/8/layout/pList1#1"/>
    <dgm:cxn modelId="{E979D118-655B-45A5-9C19-3BCDC0F6C142}" type="presParOf" srcId="{223A598A-AFE5-4C39-99F6-3A510E18EB0F}" destId="{640EA632-5192-41FB-811C-48E487BB24D9}" srcOrd="0" destOrd="0" presId="urn:microsoft.com/office/officeart/2005/8/layout/pList1#1"/>
    <dgm:cxn modelId="{AC372CB2-BE4A-4BFC-B94E-74E8DDC0259F}" type="presParOf" srcId="{223A598A-AFE5-4C39-99F6-3A510E18EB0F}" destId="{71DB8B88-BC76-4AF0-B25F-5845A219F84C}" srcOrd="1" destOrd="0" presId="urn:microsoft.com/office/officeart/2005/8/layout/pList1#1"/>
    <dgm:cxn modelId="{E7B8BA9B-F1DE-4EBD-9A18-249976C679B7}" type="presParOf" srcId="{5C388429-18D3-46E9-9C5B-4A2CAFFA587E}" destId="{5441D631-D9ED-44DB-844B-BE6DE69E12A6}" srcOrd="13" destOrd="0" presId="urn:microsoft.com/office/officeart/2005/8/layout/pList1#1"/>
    <dgm:cxn modelId="{4B78D86F-2A65-4D5C-98B4-51BA30ED04EA}" type="presParOf" srcId="{5C388429-18D3-46E9-9C5B-4A2CAFFA587E}" destId="{35609A91-6FF4-4598-9814-486C6E241607}" srcOrd="14" destOrd="0" presId="urn:microsoft.com/office/officeart/2005/8/layout/pList1#1"/>
    <dgm:cxn modelId="{2125CC4F-30CC-4379-AF4F-52C54F4C0800}" type="presParOf" srcId="{35609A91-6FF4-4598-9814-486C6E241607}" destId="{61EA8798-E03D-41E6-98D1-7DE34FF6A072}" srcOrd="0" destOrd="0" presId="urn:microsoft.com/office/officeart/2005/8/layout/pList1#1"/>
    <dgm:cxn modelId="{0AA3DBD3-E7A8-4A14-A6EF-40B3684BBF95}" type="presParOf" srcId="{35609A91-6FF4-4598-9814-486C6E241607}" destId="{36B093C4-5F1D-4F83-A822-D98DFB8BFF2E}" srcOrd="1" destOrd="0" presId="urn:microsoft.com/office/officeart/2005/8/layout/pList1#1"/>
    <dgm:cxn modelId="{F1E433E9-F3C0-4813-A0BB-EC3BA81ABBC5}" type="presParOf" srcId="{5C388429-18D3-46E9-9C5B-4A2CAFFA587E}" destId="{197ABC09-09C1-40CB-A476-735E5B94B8A3}" srcOrd="15" destOrd="0" presId="urn:microsoft.com/office/officeart/2005/8/layout/pList1#1"/>
    <dgm:cxn modelId="{0D37521A-BA54-441F-821E-BE6DD50FEFB9}" type="presParOf" srcId="{5C388429-18D3-46E9-9C5B-4A2CAFFA587E}" destId="{38A95440-CD55-49E5-A9DF-AEC2B36C8A42}" srcOrd="16" destOrd="0" presId="urn:microsoft.com/office/officeart/2005/8/layout/pList1#1"/>
    <dgm:cxn modelId="{D7C2BD8B-06F9-4145-94DA-556113374762}" type="presParOf" srcId="{38A95440-CD55-49E5-A9DF-AEC2B36C8A42}" destId="{4ADDC6F3-2F88-4F8C-A13F-A220FB9C77E8}" srcOrd="0" destOrd="0" presId="urn:microsoft.com/office/officeart/2005/8/layout/pList1#1"/>
    <dgm:cxn modelId="{10435F03-C7B4-45FF-A89B-DD7593E73CB2}" type="presParOf" srcId="{38A95440-CD55-49E5-A9DF-AEC2B36C8A42}" destId="{7E6B6D0B-A438-474B-BD77-8C58E88467D3}" srcOrd="1" destOrd="0" presId="urn:microsoft.com/office/officeart/2005/8/layout/pList1#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540B9B7-4C98-41E1-A53E-CE1259741179}"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A63D793C-8083-4DF3-A1A4-69140676DCC7}">
      <dgm:prSet phldrT="[Text]" custT="1"/>
      <dgm:spPr/>
      <dgm:t>
        <a:bodyPr/>
        <a:lstStyle/>
        <a:p>
          <a:r>
            <a:rPr lang="en-US" sz="2000" dirty="0" smtClean="0"/>
            <a:t>What is NOSQL database</a:t>
          </a:r>
          <a:endParaRPr lang="en-US" sz="2000" dirty="0"/>
        </a:p>
      </dgm:t>
    </dgm:pt>
    <dgm:pt modelId="{F79A60F8-D086-456C-84D9-F7640903C47B}" type="parTrans" cxnId="{9BD649F8-23D6-43A3-B760-8023F4BFFA02}">
      <dgm:prSet/>
      <dgm:spPr/>
      <dgm:t>
        <a:bodyPr/>
        <a:lstStyle/>
        <a:p>
          <a:endParaRPr lang="en-US" sz="2000"/>
        </a:p>
      </dgm:t>
    </dgm:pt>
    <dgm:pt modelId="{2E5C2E2F-FCE9-43FD-8309-377B0BA5A495}" type="sibTrans" cxnId="{9BD649F8-23D6-43A3-B760-8023F4BFFA02}">
      <dgm:prSet/>
      <dgm:spPr/>
      <dgm:t>
        <a:bodyPr/>
        <a:lstStyle/>
        <a:p>
          <a:endParaRPr lang="en-US" sz="2000"/>
        </a:p>
      </dgm:t>
    </dgm:pt>
    <dgm:pt modelId="{D19F1385-A786-49D8-B49A-950813EDFB44}">
      <dgm:prSet phldrT="[Text]" custT="1"/>
      <dgm:spPr/>
      <dgm:t>
        <a:bodyPr/>
        <a:lstStyle/>
        <a:p>
          <a:r>
            <a:rPr lang="en-US" sz="2000" dirty="0" smtClean="0"/>
            <a:t>Advantages of NOSQL</a:t>
          </a:r>
          <a:endParaRPr lang="en-US" sz="2000" dirty="0"/>
        </a:p>
      </dgm:t>
    </dgm:pt>
    <dgm:pt modelId="{3765034E-E428-4BA3-8F85-78C70C75B915}" type="parTrans" cxnId="{7358D161-EA34-4867-A536-7CF7F085E9D0}">
      <dgm:prSet/>
      <dgm:spPr/>
      <dgm:t>
        <a:bodyPr/>
        <a:lstStyle/>
        <a:p>
          <a:endParaRPr lang="en-US" sz="2000"/>
        </a:p>
      </dgm:t>
    </dgm:pt>
    <dgm:pt modelId="{E4AEAD24-82BF-4CBB-90EC-CD5407B7DF8B}" type="sibTrans" cxnId="{7358D161-EA34-4867-A536-7CF7F085E9D0}">
      <dgm:prSet/>
      <dgm:spPr/>
      <dgm:t>
        <a:bodyPr/>
        <a:lstStyle/>
        <a:p>
          <a:endParaRPr lang="en-US" sz="2000"/>
        </a:p>
      </dgm:t>
    </dgm:pt>
    <dgm:pt modelId="{42690E91-1807-4D33-8F3E-43246FBE1BB4}">
      <dgm:prSet phldrT="[Text]" custT="1"/>
      <dgm:spPr/>
      <dgm:t>
        <a:bodyPr/>
        <a:lstStyle/>
        <a:p>
          <a:r>
            <a:rPr lang="en-US" sz="2000" dirty="0" smtClean="0"/>
            <a:t>Why MongoDB </a:t>
          </a:r>
          <a:endParaRPr lang="en-US" sz="2000" dirty="0"/>
        </a:p>
      </dgm:t>
    </dgm:pt>
    <dgm:pt modelId="{6A449DEC-8C6D-4B92-A0EF-616BE588C1F2}" type="parTrans" cxnId="{ADA4E962-9925-4EF7-9EAC-F85009D24B6E}">
      <dgm:prSet/>
      <dgm:spPr/>
      <dgm:t>
        <a:bodyPr/>
        <a:lstStyle/>
        <a:p>
          <a:endParaRPr lang="en-US" sz="2000"/>
        </a:p>
      </dgm:t>
    </dgm:pt>
    <dgm:pt modelId="{BBC99E79-CB89-430C-AE0D-F3BEE95B645B}" type="sibTrans" cxnId="{ADA4E962-9925-4EF7-9EAC-F85009D24B6E}">
      <dgm:prSet/>
      <dgm:spPr/>
      <dgm:t>
        <a:bodyPr/>
        <a:lstStyle/>
        <a:p>
          <a:endParaRPr lang="en-US" sz="2000"/>
        </a:p>
      </dgm:t>
    </dgm:pt>
    <dgm:pt modelId="{E842D6F7-1F46-46DB-B5F0-47B5533B95CF}">
      <dgm:prSet phldrT="[Text]" custT="1"/>
      <dgm:spPr/>
      <dgm:t>
        <a:bodyPr/>
        <a:lstStyle/>
        <a:p>
          <a:r>
            <a:rPr lang="en-US" sz="2000" dirty="0" smtClean="0"/>
            <a:t>MongoDB Document database</a:t>
          </a:r>
          <a:endParaRPr lang="en-US" sz="2000" dirty="0"/>
        </a:p>
      </dgm:t>
    </dgm:pt>
    <dgm:pt modelId="{20E97BB2-E21D-4F60-9AB0-24120929D1D9}" type="parTrans" cxnId="{A4AB7C07-A229-454B-B8B6-4453E2393743}">
      <dgm:prSet/>
      <dgm:spPr/>
      <dgm:t>
        <a:bodyPr/>
        <a:lstStyle/>
        <a:p>
          <a:endParaRPr lang="en-US" sz="2000"/>
        </a:p>
      </dgm:t>
    </dgm:pt>
    <dgm:pt modelId="{4A8AD402-80A1-4C9E-A446-409BF2712524}" type="sibTrans" cxnId="{A4AB7C07-A229-454B-B8B6-4453E2393743}">
      <dgm:prSet/>
      <dgm:spPr/>
      <dgm:t>
        <a:bodyPr/>
        <a:lstStyle/>
        <a:p>
          <a:endParaRPr lang="en-US" sz="2000"/>
        </a:p>
      </dgm:t>
    </dgm:pt>
    <dgm:pt modelId="{664D86AC-3275-47F1-9589-098CE654210D}">
      <dgm:prSet phldrT="[Text]" custT="1"/>
      <dgm:spPr/>
      <dgm:t>
        <a:bodyPr/>
        <a:lstStyle/>
        <a:p>
          <a:r>
            <a:rPr lang="en-US" sz="2000" dirty="0" smtClean="0"/>
            <a:t>MongoDB data model</a:t>
          </a:r>
          <a:endParaRPr lang="en-US" sz="2000" dirty="0"/>
        </a:p>
      </dgm:t>
    </dgm:pt>
    <dgm:pt modelId="{B8DC9A77-61BA-4835-A600-2BF2999D6BCF}" type="parTrans" cxnId="{9EA461F2-A08A-4F19-97B6-8015AB0D12C2}">
      <dgm:prSet/>
      <dgm:spPr/>
      <dgm:t>
        <a:bodyPr/>
        <a:lstStyle/>
        <a:p>
          <a:endParaRPr lang="en-US" sz="2000"/>
        </a:p>
      </dgm:t>
    </dgm:pt>
    <dgm:pt modelId="{98447D84-C035-4564-A643-B6248B0557A8}" type="sibTrans" cxnId="{9EA461F2-A08A-4F19-97B6-8015AB0D12C2}">
      <dgm:prSet/>
      <dgm:spPr/>
      <dgm:t>
        <a:bodyPr/>
        <a:lstStyle/>
        <a:p>
          <a:endParaRPr lang="en-US" sz="2000"/>
        </a:p>
      </dgm:t>
    </dgm:pt>
    <dgm:pt modelId="{F7EB8A9A-47DE-4671-948F-5001CAB97660}">
      <dgm:prSet phldrT="[Text]" custT="1"/>
      <dgm:spPr/>
      <dgm:t>
        <a:bodyPr/>
        <a:lstStyle/>
        <a:p>
          <a:r>
            <a:rPr lang="en-US" sz="2000" dirty="0" smtClean="0"/>
            <a:t>Mongo Shell</a:t>
          </a:r>
          <a:endParaRPr lang="en-US" sz="2000" dirty="0"/>
        </a:p>
      </dgm:t>
    </dgm:pt>
    <dgm:pt modelId="{C4AA5749-C072-48F4-992E-CC2905E48598}" type="parTrans" cxnId="{17B58EAC-6BA9-49DA-A6BD-2C14CD89F348}">
      <dgm:prSet/>
      <dgm:spPr/>
      <dgm:t>
        <a:bodyPr/>
        <a:lstStyle/>
        <a:p>
          <a:endParaRPr lang="en-US" sz="2000"/>
        </a:p>
      </dgm:t>
    </dgm:pt>
    <dgm:pt modelId="{2487AB54-41D7-4663-A109-BEDE5665C0A0}" type="sibTrans" cxnId="{17B58EAC-6BA9-49DA-A6BD-2C14CD89F348}">
      <dgm:prSet/>
      <dgm:spPr/>
      <dgm:t>
        <a:bodyPr/>
        <a:lstStyle/>
        <a:p>
          <a:endParaRPr lang="en-US" sz="2000"/>
        </a:p>
      </dgm:t>
    </dgm:pt>
    <dgm:pt modelId="{58F54A1A-9F30-43A4-BF01-C388D455BE4B}">
      <dgm:prSet phldrT="[Text]" custT="1"/>
      <dgm:spPr/>
      <dgm:t>
        <a:bodyPr/>
        <a:lstStyle/>
        <a:p>
          <a:r>
            <a:rPr lang="en-US" sz="2000" dirty="0" smtClean="0"/>
            <a:t>Establishing Connection</a:t>
          </a:r>
          <a:endParaRPr lang="en-US" sz="2000" dirty="0"/>
        </a:p>
      </dgm:t>
    </dgm:pt>
    <dgm:pt modelId="{F8A313B8-798D-4DE7-B075-F022A06C924B}" type="parTrans" cxnId="{6F7BF0BC-46B2-4D2F-98ED-215E6BE390E3}">
      <dgm:prSet/>
      <dgm:spPr/>
      <dgm:t>
        <a:bodyPr/>
        <a:lstStyle/>
        <a:p>
          <a:endParaRPr lang="en-US" sz="2000"/>
        </a:p>
      </dgm:t>
    </dgm:pt>
    <dgm:pt modelId="{D1A0AD74-9BEB-4DEF-BC75-F55324E9FF80}" type="sibTrans" cxnId="{6F7BF0BC-46B2-4D2F-98ED-215E6BE390E3}">
      <dgm:prSet/>
      <dgm:spPr/>
      <dgm:t>
        <a:bodyPr/>
        <a:lstStyle/>
        <a:p>
          <a:endParaRPr lang="en-US" sz="2000"/>
        </a:p>
      </dgm:t>
    </dgm:pt>
    <dgm:pt modelId="{6B1A5A63-0E88-4192-B896-9DB2569A2DBC}">
      <dgm:prSet phldrT="[Text]" custT="1"/>
      <dgm:spPr/>
      <dgm:t>
        <a:bodyPr/>
        <a:lstStyle/>
        <a:p>
          <a:r>
            <a:rPr lang="en-US" sz="2000" dirty="0" smtClean="0"/>
            <a:t>Understand about Collection, document and fields</a:t>
          </a:r>
          <a:endParaRPr lang="en-US" sz="2000" dirty="0"/>
        </a:p>
      </dgm:t>
    </dgm:pt>
    <dgm:pt modelId="{DF4D7B29-CEA3-4C47-AD41-E99D76BA5780}" type="parTrans" cxnId="{C0DBC9B3-ECC6-4EF1-9E5B-9548B2444B77}">
      <dgm:prSet/>
      <dgm:spPr/>
      <dgm:t>
        <a:bodyPr/>
        <a:lstStyle/>
        <a:p>
          <a:endParaRPr lang="en-US" sz="2000"/>
        </a:p>
      </dgm:t>
    </dgm:pt>
    <dgm:pt modelId="{D11D3C86-92D7-4B74-9DE3-EE579C1BBF04}" type="sibTrans" cxnId="{C0DBC9B3-ECC6-4EF1-9E5B-9548B2444B77}">
      <dgm:prSet/>
      <dgm:spPr/>
      <dgm:t>
        <a:bodyPr/>
        <a:lstStyle/>
        <a:p>
          <a:endParaRPr lang="en-US" sz="2000"/>
        </a:p>
      </dgm:t>
    </dgm:pt>
    <dgm:pt modelId="{14A6A46F-E124-4DB8-8664-D8CAC28B157C}" type="pres">
      <dgm:prSet presAssocID="{D540B9B7-4C98-41E1-A53E-CE1259741179}" presName="linear" presStyleCnt="0">
        <dgm:presLayoutVars>
          <dgm:animLvl val="lvl"/>
          <dgm:resizeHandles val="exact"/>
        </dgm:presLayoutVars>
      </dgm:prSet>
      <dgm:spPr/>
      <dgm:t>
        <a:bodyPr/>
        <a:lstStyle/>
        <a:p>
          <a:endParaRPr lang="en-US"/>
        </a:p>
      </dgm:t>
    </dgm:pt>
    <dgm:pt modelId="{3B3D4DAD-84E4-4C0D-A77A-71DB20EA7F42}" type="pres">
      <dgm:prSet presAssocID="{A63D793C-8083-4DF3-A1A4-69140676DCC7}" presName="parentText" presStyleLbl="node1" presStyleIdx="0" presStyleCnt="8">
        <dgm:presLayoutVars>
          <dgm:chMax val="0"/>
          <dgm:bulletEnabled val="1"/>
        </dgm:presLayoutVars>
      </dgm:prSet>
      <dgm:spPr/>
      <dgm:t>
        <a:bodyPr/>
        <a:lstStyle/>
        <a:p>
          <a:endParaRPr lang="en-US"/>
        </a:p>
      </dgm:t>
    </dgm:pt>
    <dgm:pt modelId="{64AC3A56-9285-46DF-B3DC-DD48F1EA57F7}" type="pres">
      <dgm:prSet presAssocID="{2E5C2E2F-FCE9-43FD-8309-377B0BA5A495}" presName="spacer" presStyleCnt="0"/>
      <dgm:spPr/>
    </dgm:pt>
    <dgm:pt modelId="{D07FD76E-F7ED-4131-830B-421584A6753E}" type="pres">
      <dgm:prSet presAssocID="{D19F1385-A786-49D8-B49A-950813EDFB44}" presName="parentText" presStyleLbl="node1" presStyleIdx="1" presStyleCnt="8">
        <dgm:presLayoutVars>
          <dgm:chMax val="0"/>
          <dgm:bulletEnabled val="1"/>
        </dgm:presLayoutVars>
      </dgm:prSet>
      <dgm:spPr/>
      <dgm:t>
        <a:bodyPr/>
        <a:lstStyle/>
        <a:p>
          <a:endParaRPr lang="en-US"/>
        </a:p>
      </dgm:t>
    </dgm:pt>
    <dgm:pt modelId="{1793B073-7A44-4B45-8BA1-594D17ABFC27}" type="pres">
      <dgm:prSet presAssocID="{E4AEAD24-82BF-4CBB-90EC-CD5407B7DF8B}" presName="spacer" presStyleCnt="0"/>
      <dgm:spPr/>
    </dgm:pt>
    <dgm:pt modelId="{521EA97D-2682-40D2-903C-71487C654160}" type="pres">
      <dgm:prSet presAssocID="{42690E91-1807-4D33-8F3E-43246FBE1BB4}" presName="parentText" presStyleLbl="node1" presStyleIdx="2" presStyleCnt="8">
        <dgm:presLayoutVars>
          <dgm:chMax val="0"/>
          <dgm:bulletEnabled val="1"/>
        </dgm:presLayoutVars>
      </dgm:prSet>
      <dgm:spPr/>
      <dgm:t>
        <a:bodyPr/>
        <a:lstStyle/>
        <a:p>
          <a:endParaRPr lang="en-US"/>
        </a:p>
      </dgm:t>
    </dgm:pt>
    <dgm:pt modelId="{298A8A53-D66F-4333-B430-0A9E0D8AAB7E}" type="pres">
      <dgm:prSet presAssocID="{BBC99E79-CB89-430C-AE0D-F3BEE95B645B}" presName="spacer" presStyleCnt="0"/>
      <dgm:spPr/>
    </dgm:pt>
    <dgm:pt modelId="{183E26D2-0296-47DA-A77C-D61AC51A7E61}" type="pres">
      <dgm:prSet presAssocID="{E842D6F7-1F46-46DB-B5F0-47B5533B95CF}" presName="parentText" presStyleLbl="node1" presStyleIdx="3" presStyleCnt="8">
        <dgm:presLayoutVars>
          <dgm:chMax val="0"/>
          <dgm:bulletEnabled val="1"/>
        </dgm:presLayoutVars>
      </dgm:prSet>
      <dgm:spPr/>
      <dgm:t>
        <a:bodyPr/>
        <a:lstStyle/>
        <a:p>
          <a:endParaRPr lang="en-US"/>
        </a:p>
      </dgm:t>
    </dgm:pt>
    <dgm:pt modelId="{8C5A13AE-14D5-4071-9634-77562A9343F7}" type="pres">
      <dgm:prSet presAssocID="{4A8AD402-80A1-4C9E-A446-409BF2712524}" presName="spacer" presStyleCnt="0"/>
      <dgm:spPr/>
    </dgm:pt>
    <dgm:pt modelId="{7F242ADD-83A8-4B5B-A481-5D52B014AB47}" type="pres">
      <dgm:prSet presAssocID="{664D86AC-3275-47F1-9589-098CE654210D}" presName="parentText" presStyleLbl="node1" presStyleIdx="4" presStyleCnt="8">
        <dgm:presLayoutVars>
          <dgm:chMax val="0"/>
          <dgm:bulletEnabled val="1"/>
        </dgm:presLayoutVars>
      </dgm:prSet>
      <dgm:spPr/>
      <dgm:t>
        <a:bodyPr/>
        <a:lstStyle/>
        <a:p>
          <a:endParaRPr lang="en-US"/>
        </a:p>
      </dgm:t>
    </dgm:pt>
    <dgm:pt modelId="{B76F1645-195C-4908-A61C-695723D393DF}" type="pres">
      <dgm:prSet presAssocID="{98447D84-C035-4564-A643-B6248B0557A8}" presName="spacer" presStyleCnt="0"/>
      <dgm:spPr/>
    </dgm:pt>
    <dgm:pt modelId="{CBB7DB27-FC6A-4E28-917D-0300F17584B7}" type="pres">
      <dgm:prSet presAssocID="{F7EB8A9A-47DE-4671-948F-5001CAB97660}" presName="parentText" presStyleLbl="node1" presStyleIdx="5" presStyleCnt="8">
        <dgm:presLayoutVars>
          <dgm:chMax val="0"/>
          <dgm:bulletEnabled val="1"/>
        </dgm:presLayoutVars>
      </dgm:prSet>
      <dgm:spPr/>
      <dgm:t>
        <a:bodyPr/>
        <a:lstStyle/>
        <a:p>
          <a:endParaRPr lang="en-US"/>
        </a:p>
      </dgm:t>
    </dgm:pt>
    <dgm:pt modelId="{EA0F1B95-D92B-4496-AB51-FD1569BBF76B}" type="pres">
      <dgm:prSet presAssocID="{2487AB54-41D7-4663-A109-BEDE5665C0A0}" presName="spacer" presStyleCnt="0"/>
      <dgm:spPr/>
    </dgm:pt>
    <dgm:pt modelId="{6711257A-D50C-47BA-A5ED-6D6278D3C0F9}" type="pres">
      <dgm:prSet presAssocID="{58F54A1A-9F30-43A4-BF01-C388D455BE4B}" presName="parentText" presStyleLbl="node1" presStyleIdx="6" presStyleCnt="8">
        <dgm:presLayoutVars>
          <dgm:chMax val="0"/>
          <dgm:bulletEnabled val="1"/>
        </dgm:presLayoutVars>
      </dgm:prSet>
      <dgm:spPr/>
      <dgm:t>
        <a:bodyPr/>
        <a:lstStyle/>
        <a:p>
          <a:endParaRPr lang="en-US"/>
        </a:p>
      </dgm:t>
    </dgm:pt>
    <dgm:pt modelId="{6BB76471-3E22-4EC7-AAEA-9FCBFB45411F}" type="pres">
      <dgm:prSet presAssocID="{D1A0AD74-9BEB-4DEF-BC75-F55324E9FF80}" presName="spacer" presStyleCnt="0"/>
      <dgm:spPr/>
    </dgm:pt>
    <dgm:pt modelId="{ADEAD7EC-56FB-46AE-93C1-F0B63C3058B8}" type="pres">
      <dgm:prSet presAssocID="{6B1A5A63-0E88-4192-B896-9DB2569A2DBC}" presName="parentText" presStyleLbl="node1" presStyleIdx="7" presStyleCnt="8">
        <dgm:presLayoutVars>
          <dgm:chMax val="0"/>
          <dgm:bulletEnabled val="1"/>
        </dgm:presLayoutVars>
      </dgm:prSet>
      <dgm:spPr/>
      <dgm:t>
        <a:bodyPr/>
        <a:lstStyle/>
        <a:p>
          <a:endParaRPr lang="en-US"/>
        </a:p>
      </dgm:t>
    </dgm:pt>
  </dgm:ptLst>
  <dgm:cxnLst>
    <dgm:cxn modelId="{6F7BF0BC-46B2-4D2F-98ED-215E6BE390E3}" srcId="{D540B9B7-4C98-41E1-A53E-CE1259741179}" destId="{58F54A1A-9F30-43A4-BF01-C388D455BE4B}" srcOrd="6" destOrd="0" parTransId="{F8A313B8-798D-4DE7-B075-F022A06C924B}" sibTransId="{D1A0AD74-9BEB-4DEF-BC75-F55324E9FF80}"/>
    <dgm:cxn modelId="{7C746C10-1C08-4D0B-A20B-3E62ABE8A31D}" type="presOf" srcId="{D19F1385-A786-49D8-B49A-950813EDFB44}" destId="{D07FD76E-F7ED-4131-830B-421584A6753E}" srcOrd="0" destOrd="0" presId="urn:microsoft.com/office/officeart/2005/8/layout/vList2"/>
    <dgm:cxn modelId="{FFE7AB82-6394-4B56-A20D-D72281E86BC9}" type="presOf" srcId="{E842D6F7-1F46-46DB-B5F0-47B5533B95CF}" destId="{183E26D2-0296-47DA-A77C-D61AC51A7E61}" srcOrd="0" destOrd="0" presId="urn:microsoft.com/office/officeart/2005/8/layout/vList2"/>
    <dgm:cxn modelId="{6A5C41BB-9AEA-4DFC-848A-D47E43F7C3A2}" type="presOf" srcId="{58F54A1A-9F30-43A4-BF01-C388D455BE4B}" destId="{6711257A-D50C-47BA-A5ED-6D6278D3C0F9}" srcOrd="0" destOrd="0" presId="urn:microsoft.com/office/officeart/2005/8/layout/vList2"/>
    <dgm:cxn modelId="{5B61609B-8D71-48DE-B9D5-D4FCEE6E3D91}" type="presOf" srcId="{D540B9B7-4C98-41E1-A53E-CE1259741179}" destId="{14A6A46F-E124-4DB8-8664-D8CAC28B157C}" srcOrd="0" destOrd="0" presId="urn:microsoft.com/office/officeart/2005/8/layout/vList2"/>
    <dgm:cxn modelId="{7358D161-EA34-4867-A536-7CF7F085E9D0}" srcId="{D540B9B7-4C98-41E1-A53E-CE1259741179}" destId="{D19F1385-A786-49D8-B49A-950813EDFB44}" srcOrd="1" destOrd="0" parTransId="{3765034E-E428-4BA3-8F85-78C70C75B915}" sibTransId="{E4AEAD24-82BF-4CBB-90EC-CD5407B7DF8B}"/>
    <dgm:cxn modelId="{9BD649F8-23D6-43A3-B760-8023F4BFFA02}" srcId="{D540B9B7-4C98-41E1-A53E-CE1259741179}" destId="{A63D793C-8083-4DF3-A1A4-69140676DCC7}" srcOrd="0" destOrd="0" parTransId="{F79A60F8-D086-456C-84D9-F7640903C47B}" sibTransId="{2E5C2E2F-FCE9-43FD-8309-377B0BA5A495}"/>
    <dgm:cxn modelId="{C0DBC9B3-ECC6-4EF1-9E5B-9548B2444B77}" srcId="{D540B9B7-4C98-41E1-A53E-CE1259741179}" destId="{6B1A5A63-0E88-4192-B896-9DB2569A2DBC}" srcOrd="7" destOrd="0" parTransId="{DF4D7B29-CEA3-4C47-AD41-E99D76BA5780}" sibTransId="{D11D3C86-92D7-4B74-9DE3-EE579C1BBF04}"/>
    <dgm:cxn modelId="{EA681F77-91B5-402D-95CD-3FAFEF556F8B}" type="presOf" srcId="{6B1A5A63-0E88-4192-B896-9DB2569A2DBC}" destId="{ADEAD7EC-56FB-46AE-93C1-F0B63C3058B8}" srcOrd="0" destOrd="0" presId="urn:microsoft.com/office/officeart/2005/8/layout/vList2"/>
    <dgm:cxn modelId="{ADA4E962-9925-4EF7-9EAC-F85009D24B6E}" srcId="{D540B9B7-4C98-41E1-A53E-CE1259741179}" destId="{42690E91-1807-4D33-8F3E-43246FBE1BB4}" srcOrd="2" destOrd="0" parTransId="{6A449DEC-8C6D-4B92-A0EF-616BE588C1F2}" sibTransId="{BBC99E79-CB89-430C-AE0D-F3BEE95B645B}"/>
    <dgm:cxn modelId="{0B1B1281-37AF-4C11-AB2D-F22BFC9CF11B}" type="presOf" srcId="{F7EB8A9A-47DE-4671-948F-5001CAB97660}" destId="{CBB7DB27-FC6A-4E28-917D-0300F17584B7}" srcOrd="0" destOrd="0" presId="urn:microsoft.com/office/officeart/2005/8/layout/vList2"/>
    <dgm:cxn modelId="{A4AB7C07-A229-454B-B8B6-4453E2393743}" srcId="{D540B9B7-4C98-41E1-A53E-CE1259741179}" destId="{E842D6F7-1F46-46DB-B5F0-47B5533B95CF}" srcOrd="3" destOrd="0" parTransId="{20E97BB2-E21D-4F60-9AB0-24120929D1D9}" sibTransId="{4A8AD402-80A1-4C9E-A446-409BF2712524}"/>
    <dgm:cxn modelId="{1E707034-8B24-404C-8573-C68F34580398}" type="presOf" srcId="{42690E91-1807-4D33-8F3E-43246FBE1BB4}" destId="{521EA97D-2682-40D2-903C-71487C654160}" srcOrd="0" destOrd="0" presId="urn:microsoft.com/office/officeart/2005/8/layout/vList2"/>
    <dgm:cxn modelId="{85586B14-6AEA-449C-8681-44C510C1E88E}" type="presOf" srcId="{664D86AC-3275-47F1-9589-098CE654210D}" destId="{7F242ADD-83A8-4B5B-A481-5D52B014AB47}" srcOrd="0" destOrd="0" presId="urn:microsoft.com/office/officeart/2005/8/layout/vList2"/>
    <dgm:cxn modelId="{1B9B45F7-28DB-49B7-9481-EA4B0856D126}" type="presOf" srcId="{A63D793C-8083-4DF3-A1A4-69140676DCC7}" destId="{3B3D4DAD-84E4-4C0D-A77A-71DB20EA7F42}" srcOrd="0" destOrd="0" presId="urn:microsoft.com/office/officeart/2005/8/layout/vList2"/>
    <dgm:cxn modelId="{17B58EAC-6BA9-49DA-A6BD-2C14CD89F348}" srcId="{D540B9B7-4C98-41E1-A53E-CE1259741179}" destId="{F7EB8A9A-47DE-4671-948F-5001CAB97660}" srcOrd="5" destOrd="0" parTransId="{C4AA5749-C072-48F4-992E-CC2905E48598}" sibTransId="{2487AB54-41D7-4663-A109-BEDE5665C0A0}"/>
    <dgm:cxn modelId="{9EA461F2-A08A-4F19-97B6-8015AB0D12C2}" srcId="{D540B9B7-4C98-41E1-A53E-CE1259741179}" destId="{664D86AC-3275-47F1-9589-098CE654210D}" srcOrd="4" destOrd="0" parTransId="{B8DC9A77-61BA-4835-A600-2BF2999D6BCF}" sibTransId="{98447D84-C035-4564-A643-B6248B0557A8}"/>
    <dgm:cxn modelId="{7B735C6C-04EA-4F35-BB6A-656EA6338471}" type="presParOf" srcId="{14A6A46F-E124-4DB8-8664-D8CAC28B157C}" destId="{3B3D4DAD-84E4-4C0D-A77A-71DB20EA7F42}" srcOrd="0" destOrd="0" presId="urn:microsoft.com/office/officeart/2005/8/layout/vList2"/>
    <dgm:cxn modelId="{81CB325A-5503-44B9-ADC1-1CC610508719}" type="presParOf" srcId="{14A6A46F-E124-4DB8-8664-D8CAC28B157C}" destId="{64AC3A56-9285-46DF-B3DC-DD48F1EA57F7}" srcOrd="1" destOrd="0" presId="urn:microsoft.com/office/officeart/2005/8/layout/vList2"/>
    <dgm:cxn modelId="{A717F120-025E-48C2-B5EC-35B37BF61ACD}" type="presParOf" srcId="{14A6A46F-E124-4DB8-8664-D8CAC28B157C}" destId="{D07FD76E-F7ED-4131-830B-421584A6753E}" srcOrd="2" destOrd="0" presId="urn:microsoft.com/office/officeart/2005/8/layout/vList2"/>
    <dgm:cxn modelId="{6F7F3B10-3DD8-4CA7-8304-BEFD1AF87116}" type="presParOf" srcId="{14A6A46F-E124-4DB8-8664-D8CAC28B157C}" destId="{1793B073-7A44-4B45-8BA1-594D17ABFC27}" srcOrd="3" destOrd="0" presId="urn:microsoft.com/office/officeart/2005/8/layout/vList2"/>
    <dgm:cxn modelId="{48732E03-F2B7-4D48-9A4F-B1A6BDE785EC}" type="presParOf" srcId="{14A6A46F-E124-4DB8-8664-D8CAC28B157C}" destId="{521EA97D-2682-40D2-903C-71487C654160}" srcOrd="4" destOrd="0" presId="urn:microsoft.com/office/officeart/2005/8/layout/vList2"/>
    <dgm:cxn modelId="{390D998F-BA35-41D6-A6A5-4147E39D818F}" type="presParOf" srcId="{14A6A46F-E124-4DB8-8664-D8CAC28B157C}" destId="{298A8A53-D66F-4333-B430-0A9E0D8AAB7E}" srcOrd="5" destOrd="0" presId="urn:microsoft.com/office/officeart/2005/8/layout/vList2"/>
    <dgm:cxn modelId="{03C9CDE0-64FE-42A0-8F98-B41C346FF355}" type="presParOf" srcId="{14A6A46F-E124-4DB8-8664-D8CAC28B157C}" destId="{183E26D2-0296-47DA-A77C-D61AC51A7E61}" srcOrd="6" destOrd="0" presId="urn:microsoft.com/office/officeart/2005/8/layout/vList2"/>
    <dgm:cxn modelId="{09694ABC-AC4A-4446-A970-D90454072B18}" type="presParOf" srcId="{14A6A46F-E124-4DB8-8664-D8CAC28B157C}" destId="{8C5A13AE-14D5-4071-9634-77562A9343F7}" srcOrd="7" destOrd="0" presId="urn:microsoft.com/office/officeart/2005/8/layout/vList2"/>
    <dgm:cxn modelId="{E5E2B07B-2BBE-4015-AC45-B45E43B51092}" type="presParOf" srcId="{14A6A46F-E124-4DB8-8664-D8CAC28B157C}" destId="{7F242ADD-83A8-4B5B-A481-5D52B014AB47}" srcOrd="8" destOrd="0" presId="urn:microsoft.com/office/officeart/2005/8/layout/vList2"/>
    <dgm:cxn modelId="{83176A60-2A64-42FF-939F-9022FAC9E845}" type="presParOf" srcId="{14A6A46F-E124-4DB8-8664-D8CAC28B157C}" destId="{B76F1645-195C-4908-A61C-695723D393DF}" srcOrd="9" destOrd="0" presId="urn:microsoft.com/office/officeart/2005/8/layout/vList2"/>
    <dgm:cxn modelId="{DF5451B6-82EE-4224-8E35-37D340FEC43E}" type="presParOf" srcId="{14A6A46F-E124-4DB8-8664-D8CAC28B157C}" destId="{CBB7DB27-FC6A-4E28-917D-0300F17584B7}" srcOrd="10" destOrd="0" presId="urn:microsoft.com/office/officeart/2005/8/layout/vList2"/>
    <dgm:cxn modelId="{FEAB250B-AE46-4E22-BE90-D4B2533B8409}" type="presParOf" srcId="{14A6A46F-E124-4DB8-8664-D8CAC28B157C}" destId="{EA0F1B95-D92B-4496-AB51-FD1569BBF76B}" srcOrd="11" destOrd="0" presId="urn:microsoft.com/office/officeart/2005/8/layout/vList2"/>
    <dgm:cxn modelId="{C7D9D615-8337-42B2-98FD-235449FA0E7A}" type="presParOf" srcId="{14A6A46F-E124-4DB8-8664-D8CAC28B157C}" destId="{6711257A-D50C-47BA-A5ED-6D6278D3C0F9}" srcOrd="12" destOrd="0" presId="urn:microsoft.com/office/officeart/2005/8/layout/vList2"/>
    <dgm:cxn modelId="{C08CD249-9FAD-4FA6-9F0D-77F0786942A0}" type="presParOf" srcId="{14A6A46F-E124-4DB8-8664-D8CAC28B157C}" destId="{6BB76471-3E22-4EC7-AAEA-9FCBFB45411F}" srcOrd="13" destOrd="0" presId="urn:microsoft.com/office/officeart/2005/8/layout/vList2"/>
    <dgm:cxn modelId="{931BA6EB-7977-4258-9F1C-6BA61720BD2A}" type="presParOf" srcId="{14A6A46F-E124-4DB8-8664-D8CAC28B157C}" destId="{ADEAD7EC-56FB-46AE-93C1-F0B63C3058B8}" srcOrd="1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B02F39-DDC3-46F6-8923-1AEC94BD7144}">
      <dsp:nvSpPr>
        <dsp:cNvPr id="0" name=""/>
        <dsp:cNvSpPr/>
      </dsp:nvSpPr>
      <dsp:spPr>
        <a:xfrm>
          <a:off x="0" y="2300"/>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Stands for ‘Not Only SQL’.</a:t>
          </a:r>
          <a:endParaRPr lang="en-US" sz="2000" kern="1200" dirty="0"/>
        </a:p>
      </dsp:txBody>
      <dsp:txXfrm>
        <a:off x="22006" y="24306"/>
        <a:ext cx="7696856" cy="406775"/>
      </dsp:txXfrm>
    </dsp:sp>
    <dsp:sp modelId="{1DF4BD19-CA46-4700-9C0C-EC3D3F872475}">
      <dsp:nvSpPr>
        <dsp:cNvPr id="0" name=""/>
        <dsp:cNvSpPr/>
      </dsp:nvSpPr>
      <dsp:spPr>
        <a:xfrm>
          <a:off x="0" y="461258"/>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Originally refers to “non SQL” or “non Relational” database. </a:t>
          </a:r>
          <a:endParaRPr lang="en-US" sz="2000" kern="1200" dirty="0"/>
        </a:p>
      </dsp:txBody>
      <dsp:txXfrm>
        <a:off x="22006" y="483264"/>
        <a:ext cx="7696856" cy="406775"/>
      </dsp:txXfrm>
    </dsp:sp>
    <dsp:sp modelId="{AD0C95AC-4994-4041-A20B-2F8F95F8ADBC}">
      <dsp:nvSpPr>
        <dsp:cNvPr id="0" name=""/>
        <dsp:cNvSpPr/>
      </dsp:nvSpPr>
      <dsp:spPr>
        <a:xfrm>
          <a:off x="0" y="920216"/>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erm coined  by Carlo Strozzi in 1998.</a:t>
          </a:r>
          <a:endParaRPr lang="en-US" sz="2000" kern="1200" dirty="0"/>
        </a:p>
      </dsp:txBody>
      <dsp:txXfrm>
        <a:off x="22006" y="942222"/>
        <a:ext cx="7696856" cy="406775"/>
      </dsp:txXfrm>
    </dsp:sp>
    <dsp:sp modelId="{0411D0A0-287F-43E2-B73E-A3200DF92774}">
      <dsp:nvSpPr>
        <dsp:cNvPr id="0" name=""/>
        <dsp:cNvSpPr/>
      </dsp:nvSpPr>
      <dsp:spPr>
        <a:xfrm>
          <a:off x="0" y="1379173"/>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Open Source.</a:t>
          </a:r>
          <a:endParaRPr lang="en-US" sz="2000" kern="1200" dirty="0"/>
        </a:p>
      </dsp:txBody>
      <dsp:txXfrm>
        <a:off x="22006" y="1401179"/>
        <a:ext cx="7696856" cy="406775"/>
      </dsp:txXfrm>
    </dsp:sp>
    <dsp:sp modelId="{E474C7D2-0CE2-4062-9B5B-9BBD30B84A5D}">
      <dsp:nvSpPr>
        <dsp:cNvPr id="0" name=""/>
        <dsp:cNvSpPr/>
      </dsp:nvSpPr>
      <dsp:spPr>
        <a:xfrm>
          <a:off x="0" y="1838131"/>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 Rows-Columns / Tables.</a:t>
          </a:r>
          <a:endParaRPr lang="en-US" sz="2000" kern="1200" dirty="0"/>
        </a:p>
      </dsp:txBody>
      <dsp:txXfrm>
        <a:off x="22006" y="1860137"/>
        <a:ext cx="7696856" cy="406775"/>
      </dsp:txXfrm>
    </dsp:sp>
    <dsp:sp modelId="{418774BE-ECAD-4572-8421-F1BB3B861F06}">
      <dsp:nvSpPr>
        <dsp:cNvPr id="0" name=""/>
        <dsp:cNvSpPr/>
      </dsp:nvSpPr>
      <dsp:spPr>
        <a:xfrm>
          <a:off x="0" y="2297089"/>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 Predefined schema.</a:t>
          </a:r>
          <a:endParaRPr lang="en-US" sz="2000" kern="1200" dirty="0"/>
        </a:p>
      </dsp:txBody>
      <dsp:txXfrm>
        <a:off x="22006" y="2319095"/>
        <a:ext cx="7696856" cy="406775"/>
      </dsp:txXfrm>
    </dsp:sp>
    <dsp:sp modelId="{9B00DABB-E506-486A-9F48-61FE6C39CA87}">
      <dsp:nvSpPr>
        <dsp:cNvPr id="0" name=""/>
        <dsp:cNvSpPr/>
      </dsp:nvSpPr>
      <dsp:spPr>
        <a:xfrm>
          <a:off x="0" y="2756047"/>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ventually consistency rather than ACID property.</a:t>
          </a:r>
          <a:endParaRPr lang="en-US" sz="2000" kern="1200" dirty="0"/>
        </a:p>
      </dsp:txBody>
      <dsp:txXfrm>
        <a:off x="22006" y="2778053"/>
        <a:ext cx="7696856" cy="406775"/>
      </dsp:txXfrm>
    </dsp:sp>
    <dsp:sp modelId="{4012C59D-DC4C-4D32-94FD-469B19DC1685}">
      <dsp:nvSpPr>
        <dsp:cNvPr id="0" name=""/>
        <dsp:cNvSpPr/>
      </dsp:nvSpPr>
      <dsp:spPr>
        <a:xfrm>
          <a:off x="0" y="3215004"/>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Distributed computing.</a:t>
          </a:r>
          <a:endParaRPr lang="en-US" sz="2000" kern="1200" dirty="0"/>
        </a:p>
      </dsp:txBody>
      <dsp:txXfrm>
        <a:off x="22006" y="3237010"/>
        <a:ext cx="7696856" cy="406775"/>
      </dsp:txXfrm>
    </dsp:sp>
    <dsp:sp modelId="{3F8DB73C-6AF2-4994-9D01-679E12579E58}">
      <dsp:nvSpPr>
        <dsp:cNvPr id="0" name=""/>
        <dsp:cNvSpPr/>
      </dsp:nvSpPr>
      <dsp:spPr>
        <a:xfrm>
          <a:off x="0" y="3673962"/>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nstructured and unpredictable data.</a:t>
          </a:r>
          <a:endParaRPr lang="en-US" sz="2000" kern="1200" dirty="0"/>
        </a:p>
      </dsp:txBody>
      <dsp:txXfrm>
        <a:off x="22006" y="3695968"/>
        <a:ext cx="7696856" cy="406775"/>
      </dsp:txXfrm>
    </dsp:sp>
    <dsp:sp modelId="{B5CD0D20-11E7-43DD-A611-1D92AD3CBE24}">
      <dsp:nvSpPr>
        <dsp:cNvPr id="0" name=""/>
        <dsp:cNvSpPr/>
      </dsp:nvSpPr>
      <dsp:spPr>
        <a:xfrm>
          <a:off x="0" y="4132920"/>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rioritizes high scalability ,high availability and scalability.</a:t>
          </a:r>
          <a:endParaRPr lang="en-US" sz="2000" kern="1200" dirty="0"/>
        </a:p>
      </dsp:txBody>
      <dsp:txXfrm>
        <a:off x="22006" y="4154926"/>
        <a:ext cx="7696856" cy="406775"/>
      </dsp:txXfrm>
    </dsp:sp>
    <dsp:sp modelId="{4293BD6F-27C4-4556-ADD0-E14A479361F4}">
      <dsp:nvSpPr>
        <dsp:cNvPr id="0" name=""/>
        <dsp:cNvSpPr/>
      </dsp:nvSpPr>
      <dsp:spPr>
        <a:xfrm>
          <a:off x="0" y="4591877"/>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Replication support .</a:t>
          </a:r>
          <a:endParaRPr lang="en-US" sz="2000" kern="1200" dirty="0"/>
        </a:p>
      </dsp:txBody>
      <dsp:txXfrm>
        <a:off x="22006" y="4613883"/>
        <a:ext cx="7696856" cy="4067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76267-E1A9-4A2D-9999-6863052E6592}">
      <dsp:nvSpPr>
        <dsp:cNvPr id="0" name=""/>
        <dsp:cNvSpPr/>
      </dsp:nvSpPr>
      <dsp:spPr>
        <a:xfrm>
          <a:off x="0" y="2547973"/>
          <a:ext cx="7729482" cy="239400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99894" tIns="395732" rIns="599894"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Handles Schema Changes Well (easy development)</a:t>
          </a:r>
          <a:endParaRPr lang="en-US" sz="1900" kern="1200" dirty="0"/>
        </a:p>
        <a:p>
          <a:pPr marL="171450" lvl="1" indent="-171450" algn="l" defTabSz="844550">
            <a:lnSpc>
              <a:spcPct val="90000"/>
            </a:lnSpc>
            <a:spcBef>
              <a:spcPct val="0"/>
            </a:spcBef>
            <a:spcAft>
              <a:spcPct val="15000"/>
            </a:spcAft>
            <a:buChar char="••"/>
          </a:pPr>
          <a:endParaRPr lang="en-US" sz="1900" kern="1200" dirty="0" smtClean="0"/>
        </a:p>
        <a:p>
          <a:pPr marL="171450" lvl="1" indent="-171450" algn="l" defTabSz="844550">
            <a:lnSpc>
              <a:spcPct val="90000"/>
            </a:lnSpc>
            <a:spcBef>
              <a:spcPct val="0"/>
            </a:spcBef>
            <a:spcAft>
              <a:spcPct val="15000"/>
            </a:spcAft>
            <a:buChar char="••"/>
          </a:pPr>
          <a:r>
            <a:rPr lang="en-US" sz="1900" kern="1200" dirty="0" smtClean="0"/>
            <a:t>Solves Impedance Mismatch problem</a:t>
          </a:r>
        </a:p>
        <a:p>
          <a:pPr marL="171450" lvl="1" indent="-171450" algn="l" defTabSz="844550">
            <a:lnSpc>
              <a:spcPct val="90000"/>
            </a:lnSpc>
            <a:spcBef>
              <a:spcPct val="0"/>
            </a:spcBef>
            <a:spcAft>
              <a:spcPct val="15000"/>
            </a:spcAft>
            <a:buChar char="••"/>
          </a:pPr>
          <a:endParaRPr lang="en-US" sz="1900" kern="1200" dirty="0" smtClean="0"/>
        </a:p>
        <a:p>
          <a:pPr marL="171450" lvl="1" indent="-171450" algn="l" defTabSz="844550">
            <a:lnSpc>
              <a:spcPct val="90000"/>
            </a:lnSpc>
            <a:spcBef>
              <a:spcPct val="0"/>
            </a:spcBef>
            <a:spcAft>
              <a:spcPct val="15000"/>
            </a:spcAft>
            <a:buChar char="••"/>
          </a:pPr>
          <a:r>
            <a:rPr lang="en-US" sz="1900" kern="1200" dirty="0" smtClean="0"/>
            <a:t>Rise of JSON</a:t>
          </a:r>
        </a:p>
        <a:p>
          <a:pPr marL="342900" lvl="2" indent="-171450" algn="l" defTabSz="844550">
            <a:lnSpc>
              <a:spcPct val="90000"/>
            </a:lnSpc>
            <a:spcBef>
              <a:spcPct val="0"/>
            </a:spcBef>
            <a:spcAft>
              <a:spcPct val="15000"/>
            </a:spcAft>
            <a:buChar char="••"/>
          </a:pPr>
          <a:r>
            <a:rPr lang="en-US" sz="1900" kern="1200" dirty="0" smtClean="0"/>
            <a:t>python module: simplejson</a:t>
          </a:r>
          <a:endParaRPr lang="en-US" sz="1900" kern="1200" dirty="0"/>
        </a:p>
      </dsp:txBody>
      <dsp:txXfrm>
        <a:off x="0" y="2547973"/>
        <a:ext cx="7729482" cy="2394000"/>
      </dsp:txXfrm>
    </dsp:sp>
    <dsp:sp modelId="{956B3F3D-B30E-40CD-868D-C92850D933B0}">
      <dsp:nvSpPr>
        <dsp:cNvPr id="0" name=""/>
        <dsp:cNvSpPr/>
      </dsp:nvSpPr>
      <dsp:spPr>
        <a:xfrm>
          <a:off x="402567" y="0"/>
          <a:ext cx="5405353" cy="2741188"/>
        </a:xfrm>
        <a:prstGeom prst="roundRect">
          <a:avLst/>
        </a:prstGeom>
        <a:blipFill rotWithShape="0">
          <a:blip xmlns:r="http://schemas.openxmlformats.org/officeDocument/2006/relationships" r:embed="rId1"/>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4509" tIns="0" rIns="204509" bIns="0" numCol="1" spcCol="1270" anchor="ctr" anchorCtr="0">
          <a:noAutofit/>
        </a:bodyPr>
        <a:lstStyle/>
        <a:p>
          <a:pPr lvl="0" algn="l" defTabSz="844550">
            <a:lnSpc>
              <a:spcPct val="90000"/>
            </a:lnSpc>
            <a:spcBef>
              <a:spcPct val="0"/>
            </a:spcBef>
            <a:spcAft>
              <a:spcPct val="35000"/>
            </a:spcAft>
          </a:pPr>
          <a:r>
            <a:rPr lang="en-US" sz="1900" kern="1200" dirty="0" smtClean="0"/>
            <a:t> </a:t>
          </a:r>
          <a:endParaRPr lang="en-US" sz="1900" kern="1200" dirty="0"/>
        </a:p>
      </dsp:txBody>
      <dsp:txXfrm>
        <a:off x="536381" y="133814"/>
        <a:ext cx="5137725" cy="24735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2C13EA-55F6-4063-9B60-20793AD93170}">
      <dsp:nvSpPr>
        <dsp:cNvPr id="0" name=""/>
        <dsp:cNvSpPr/>
      </dsp:nvSpPr>
      <dsp:spPr>
        <a:xfrm>
          <a:off x="0" y="17925"/>
          <a:ext cx="7520151" cy="1104480"/>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latin typeface="Arial"/>
              <a:ea typeface="+mn-ea"/>
              <a:cs typeface="+mn-cs"/>
            </a:rPr>
            <a:t>Each record: UserID1, UserID2 </a:t>
          </a:r>
          <a:endParaRPr lang="en-US" sz="2000" kern="1200" dirty="0">
            <a:latin typeface="Arial"/>
            <a:ea typeface="+mn-ea"/>
            <a:cs typeface="+mn-cs"/>
          </a:endParaRPr>
        </a:p>
      </dsp:txBody>
      <dsp:txXfrm>
        <a:off x="0" y="17925"/>
        <a:ext cx="7520151" cy="1104480"/>
      </dsp:txXfrm>
    </dsp:sp>
    <dsp:sp modelId="{86BAFAAD-AB8D-409C-AD7E-123F3C1E22EC}">
      <dsp:nvSpPr>
        <dsp:cNvPr id="0" name=""/>
        <dsp:cNvSpPr/>
      </dsp:nvSpPr>
      <dsp:spPr>
        <a:xfrm>
          <a:off x="0" y="1292325"/>
          <a:ext cx="7520151" cy="1104480"/>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latin typeface="Arial"/>
              <a:ea typeface="+mn-ea"/>
              <a:cs typeface="+mn-cs"/>
            </a:rPr>
            <a:t>Separate records: UserID, first_name,last_name, age, gender,... </a:t>
          </a:r>
          <a:endParaRPr lang="en-US" sz="2000" kern="1200" dirty="0">
            <a:latin typeface="Arial"/>
            <a:ea typeface="+mn-ea"/>
            <a:cs typeface="+mn-cs"/>
          </a:endParaRPr>
        </a:p>
      </dsp:txBody>
      <dsp:txXfrm>
        <a:off x="0" y="1292325"/>
        <a:ext cx="7520151" cy="1104480"/>
      </dsp:txXfrm>
    </dsp:sp>
    <dsp:sp modelId="{5F91ECE9-DF8C-40AB-B8AD-8F9205778B4D}">
      <dsp:nvSpPr>
        <dsp:cNvPr id="0" name=""/>
        <dsp:cNvSpPr/>
      </dsp:nvSpPr>
      <dsp:spPr>
        <a:xfrm>
          <a:off x="0" y="2566725"/>
          <a:ext cx="7520151" cy="1104480"/>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latin typeface="Arial"/>
              <a:ea typeface="+mn-ea"/>
              <a:cs typeface="+mn-cs"/>
            </a:rPr>
            <a:t>Task: Find all friends of friends of friends of ... friends of a given user</a:t>
          </a:r>
          <a:endParaRPr lang="en-US" sz="2000" kern="1200" dirty="0">
            <a:latin typeface="Arial"/>
            <a:ea typeface="+mn-ea"/>
            <a:cs typeface="+mn-cs"/>
          </a:endParaRPr>
        </a:p>
      </dsp:txBody>
      <dsp:txXfrm>
        <a:off x="0" y="2566725"/>
        <a:ext cx="7520151" cy="11044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836F42-B3FA-4EA2-A91E-D69EBB69DEE4}">
      <dsp:nvSpPr>
        <dsp:cNvPr id="0" name=""/>
        <dsp:cNvSpPr/>
      </dsp:nvSpPr>
      <dsp:spPr>
        <a:xfrm>
          <a:off x="4407612" y="2117984"/>
          <a:ext cx="2588647" cy="2588647"/>
        </a:xfrm>
        <a:prstGeom prst="gear9">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Task: Retrieve all pages regarding athletics of Summer Olympic before 1950</a:t>
          </a:r>
          <a:endParaRPr lang="en-US" sz="1100" kern="1200" dirty="0"/>
        </a:p>
      </dsp:txBody>
      <dsp:txXfrm>
        <a:off x="4928045" y="2724362"/>
        <a:ext cx="1547781" cy="1330618"/>
      </dsp:txXfrm>
    </dsp:sp>
    <dsp:sp modelId="{D208385A-4ED3-457B-95D0-174B0EC7D5F1}">
      <dsp:nvSpPr>
        <dsp:cNvPr id="0" name=""/>
        <dsp:cNvSpPr/>
      </dsp:nvSpPr>
      <dsp:spPr>
        <a:xfrm>
          <a:off x="2901490" y="1506122"/>
          <a:ext cx="1882652" cy="1882652"/>
        </a:xfrm>
        <a:prstGeom prst="gear6">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Combination of structured and unstructured data</a:t>
          </a:r>
          <a:endParaRPr lang="en-US" sz="1100" kern="1200" dirty="0"/>
        </a:p>
      </dsp:txBody>
      <dsp:txXfrm>
        <a:off x="3375453" y="1982950"/>
        <a:ext cx="934726" cy="928996"/>
      </dsp:txXfrm>
    </dsp:sp>
    <dsp:sp modelId="{546170BA-8C07-4AE9-AB20-A2CAA9B6519D}">
      <dsp:nvSpPr>
        <dsp:cNvPr id="0" name=""/>
        <dsp:cNvSpPr/>
      </dsp:nvSpPr>
      <dsp:spPr>
        <a:xfrm rot="20700000">
          <a:off x="3955968" y="207283"/>
          <a:ext cx="1844615" cy="1844615"/>
        </a:xfrm>
        <a:prstGeom prst="gear6">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Large collection of documents</a:t>
          </a:r>
          <a:endParaRPr lang="en-US" sz="1100" kern="1200" dirty="0"/>
        </a:p>
      </dsp:txBody>
      <dsp:txXfrm rot="-20700000">
        <a:off x="4360546" y="611862"/>
        <a:ext cx="1035459" cy="1035459"/>
      </dsp:txXfrm>
    </dsp:sp>
    <dsp:sp modelId="{7C4FCFE7-D1AF-4985-B4EE-13432F6ACC3F}">
      <dsp:nvSpPr>
        <dsp:cNvPr id="0" name=""/>
        <dsp:cNvSpPr/>
      </dsp:nvSpPr>
      <dsp:spPr>
        <a:xfrm>
          <a:off x="4214225" y="1724134"/>
          <a:ext cx="3313468" cy="3313468"/>
        </a:xfrm>
        <a:prstGeom prst="circularArrow">
          <a:avLst>
            <a:gd name="adj1" fmla="val 4687"/>
            <a:gd name="adj2" fmla="val 299029"/>
            <a:gd name="adj3" fmla="val 2527180"/>
            <a:gd name="adj4" fmla="val 15837751"/>
            <a:gd name="adj5" fmla="val 5469"/>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E2279A-580B-4E9D-A58B-B83DD69EA1E3}">
      <dsp:nvSpPr>
        <dsp:cNvPr id="0" name=""/>
        <dsp:cNvSpPr/>
      </dsp:nvSpPr>
      <dsp:spPr>
        <a:xfrm>
          <a:off x="2568076" y="1087363"/>
          <a:ext cx="2407442" cy="2407442"/>
        </a:xfrm>
        <a:prstGeom prst="leftCircularArrow">
          <a:avLst>
            <a:gd name="adj1" fmla="val 6452"/>
            <a:gd name="adj2" fmla="val 429999"/>
            <a:gd name="adj3" fmla="val 10489124"/>
            <a:gd name="adj4" fmla="val 14837806"/>
            <a:gd name="adj5" fmla="val 7527"/>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DB1696E-B095-4154-9F33-AAF122489ADA}">
      <dsp:nvSpPr>
        <dsp:cNvPr id="0" name=""/>
        <dsp:cNvSpPr/>
      </dsp:nvSpPr>
      <dsp:spPr>
        <a:xfrm>
          <a:off x="3529289" y="-198954"/>
          <a:ext cx="2595707" cy="2595707"/>
        </a:xfrm>
        <a:prstGeom prst="circularArrow">
          <a:avLst>
            <a:gd name="adj1" fmla="val 5984"/>
            <a:gd name="adj2" fmla="val 394124"/>
            <a:gd name="adj3" fmla="val 13313824"/>
            <a:gd name="adj4" fmla="val 10508221"/>
            <a:gd name="adj5" fmla="val 6981"/>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C49F7B-54D4-474D-842A-B34A17622CCD}">
      <dsp:nvSpPr>
        <dsp:cNvPr id="0" name=""/>
        <dsp:cNvSpPr/>
      </dsp:nvSpPr>
      <dsp:spPr>
        <a:xfrm rot="5400000">
          <a:off x="5470058" y="-2301266"/>
          <a:ext cx="1112705" cy="5993418"/>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is means that the data in the database remains consistent after the execution of an operation. For example after an update operation all clients see the same data. </a:t>
          </a:r>
          <a:endParaRPr lang="en-US" sz="1800" kern="1200" dirty="0"/>
        </a:p>
      </dsp:txBody>
      <dsp:txXfrm rot="-5400000">
        <a:off x="3029702" y="193408"/>
        <a:ext cx="5939100" cy="1004069"/>
      </dsp:txXfrm>
    </dsp:sp>
    <dsp:sp modelId="{B716E5E9-FA0F-4567-B5FB-AA4925076891}">
      <dsp:nvSpPr>
        <dsp:cNvPr id="0" name=""/>
        <dsp:cNvSpPr/>
      </dsp:nvSpPr>
      <dsp:spPr>
        <a:xfrm>
          <a:off x="341596" y="1"/>
          <a:ext cx="2688104" cy="139088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Consistency</a:t>
          </a:r>
          <a:endParaRPr lang="en-US" sz="1800" kern="1200" dirty="0"/>
        </a:p>
      </dsp:txBody>
      <dsp:txXfrm>
        <a:off x="409493" y="67898"/>
        <a:ext cx="2552310" cy="1255087"/>
      </dsp:txXfrm>
    </dsp:sp>
    <dsp:sp modelId="{D6FDB226-2DFB-4843-8F51-7572361790C9}">
      <dsp:nvSpPr>
        <dsp:cNvPr id="0" name=""/>
        <dsp:cNvSpPr/>
      </dsp:nvSpPr>
      <dsp:spPr>
        <a:xfrm rot="5400000">
          <a:off x="5470058" y="-840841"/>
          <a:ext cx="1112705" cy="5993418"/>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is means that the system is always on (service guarantee availability), no downtime. </a:t>
          </a:r>
          <a:endParaRPr lang="en-US" sz="1800" kern="1200" dirty="0"/>
        </a:p>
      </dsp:txBody>
      <dsp:txXfrm rot="-5400000">
        <a:off x="3029702" y="1653833"/>
        <a:ext cx="5939100" cy="1004069"/>
      </dsp:txXfrm>
    </dsp:sp>
    <dsp:sp modelId="{5BF0FDA3-0E80-4C02-B308-E78F1FAEB63E}">
      <dsp:nvSpPr>
        <dsp:cNvPr id="0" name=""/>
        <dsp:cNvSpPr/>
      </dsp:nvSpPr>
      <dsp:spPr>
        <a:xfrm>
          <a:off x="341596" y="1460427"/>
          <a:ext cx="2688104" cy="139088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Availability</a:t>
          </a:r>
          <a:endParaRPr lang="en-US" sz="1800" kern="1200" dirty="0"/>
        </a:p>
      </dsp:txBody>
      <dsp:txXfrm>
        <a:off x="409493" y="1528324"/>
        <a:ext cx="2552310" cy="1255087"/>
      </dsp:txXfrm>
    </dsp:sp>
    <dsp:sp modelId="{A1A19C03-16FC-46EA-ACD1-847D5CC3CA88}">
      <dsp:nvSpPr>
        <dsp:cNvPr id="0" name=""/>
        <dsp:cNvSpPr/>
      </dsp:nvSpPr>
      <dsp:spPr>
        <a:xfrm rot="5400000">
          <a:off x="5279953" y="667976"/>
          <a:ext cx="1481811" cy="5987565"/>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is means that the system continues to function even the communication among the servers is unreliable, i.e. the servers may be partitioned into multiple groups that cannot communicate with one another.</a:t>
          </a:r>
          <a:endParaRPr lang="en-US" sz="1800" kern="1200" dirty="0"/>
        </a:p>
      </dsp:txBody>
      <dsp:txXfrm rot="-5400000">
        <a:off x="3027076" y="2993189"/>
        <a:ext cx="5915229" cy="1337139"/>
      </dsp:txXfrm>
    </dsp:sp>
    <dsp:sp modelId="{6456F145-9CEF-4075-B794-83197A775C32}">
      <dsp:nvSpPr>
        <dsp:cNvPr id="0" name=""/>
        <dsp:cNvSpPr/>
      </dsp:nvSpPr>
      <dsp:spPr>
        <a:xfrm>
          <a:off x="341596" y="2966318"/>
          <a:ext cx="2685479" cy="139088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Partition Tolerance</a:t>
          </a:r>
          <a:endParaRPr lang="en-US" sz="1800" kern="1200" dirty="0"/>
        </a:p>
      </dsp:txBody>
      <dsp:txXfrm>
        <a:off x="409493" y="3034215"/>
        <a:ext cx="2549685" cy="125508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36C20F-4820-4BCF-89C6-15F82669E7ED}">
      <dsp:nvSpPr>
        <dsp:cNvPr id="0" name=""/>
        <dsp:cNvSpPr/>
      </dsp:nvSpPr>
      <dsp:spPr>
        <a:xfrm>
          <a:off x="0" y="29813"/>
          <a:ext cx="2857938" cy="9734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Key-value</a:t>
          </a:r>
          <a:endParaRPr lang="en-US" sz="2000" kern="1200" dirty="0"/>
        </a:p>
      </dsp:txBody>
      <dsp:txXfrm>
        <a:off x="47519" y="77332"/>
        <a:ext cx="2762900" cy="878402"/>
      </dsp:txXfrm>
    </dsp:sp>
    <dsp:sp modelId="{D85A952C-2B90-40F6-8751-7222A3D3001E}">
      <dsp:nvSpPr>
        <dsp:cNvPr id="0" name=""/>
        <dsp:cNvSpPr/>
      </dsp:nvSpPr>
      <dsp:spPr>
        <a:xfrm>
          <a:off x="0" y="1153013"/>
          <a:ext cx="2857938" cy="9734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Graph database </a:t>
          </a:r>
          <a:endParaRPr lang="en-US" sz="2000" kern="1200" dirty="0"/>
        </a:p>
      </dsp:txBody>
      <dsp:txXfrm>
        <a:off x="47519" y="1200532"/>
        <a:ext cx="2762900" cy="878402"/>
      </dsp:txXfrm>
    </dsp:sp>
    <dsp:sp modelId="{497C112A-2E49-4657-9509-3627C03AF9D8}">
      <dsp:nvSpPr>
        <dsp:cNvPr id="0" name=""/>
        <dsp:cNvSpPr/>
      </dsp:nvSpPr>
      <dsp:spPr>
        <a:xfrm>
          <a:off x="0" y="2276213"/>
          <a:ext cx="2857938" cy="9734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Document-oriented </a:t>
          </a:r>
          <a:endParaRPr lang="en-US" sz="2000" kern="1200" dirty="0"/>
        </a:p>
      </dsp:txBody>
      <dsp:txXfrm>
        <a:off x="47519" y="2323732"/>
        <a:ext cx="2762900" cy="878402"/>
      </dsp:txXfrm>
    </dsp:sp>
    <dsp:sp modelId="{A02BDE94-B381-415D-8D39-2CE7704B5ABD}">
      <dsp:nvSpPr>
        <dsp:cNvPr id="0" name=""/>
        <dsp:cNvSpPr/>
      </dsp:nvSpPr>
      <dsp:spPr>
        <a:xfrm>
          <a:off x="0" y="3399413"/>
          <a:ext cx="2857938" cy="9734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Column family</a:t>
          </a:r>
          <a:endParaRPr lang="en-US" sz="2000" kern="1200" dirty="0"/>
        </a:p>
      </dsp:txBody>
      <dsp:txXfrm>
        <a:off x="47519" y="3446932"/>
        <a:ext cx="2762900" cy="8784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D97441-95AF-4557-91B6-6810DA975A5D}">
      <dsp:nvSpPr>
        <dsp:cNvPr id="0" name=""/>
        <dsp:cNvSpPr/>
      </dsp:nvSpPr>
      <dsp:spPr>
        <a:xfrm>
          <a:off x="0" y="442419"/>
          <a:ext cx="1906642" cy="1143985"/>
        </a:xfrm>
        <a:prstGeom prst="rect">
          <a:avLst/>
        </a:prstGeom>
        <a:blipFill rotWithShape="0">
          <a:blip xmlns:r="http://schemas.openxmlformats.org/officeDocument/2006/relationships" r:embed="rId1"/>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0" y="442419"/>
        <a:ext cx="1906642" cy="1143985"/>
      </dsp:txXfrm>
    </dsp:sp>
    <dsp:sp modelId="{778A2AEA-E033-4B5B-B989-1A31AA0E72DF}">
      <dsp:nvSpPr>
        <dsp:cNvPr id="0" name=""/>
        <dsp:cNvSpPr/>
      </dsp:nvSpPr>
      <dsp:spPr>
        <a:xfrm>
          <a:off x="2097306" y="442419"/>
          <a:ext cx="1906642" cy="1143985"/>
        </a:xfrm>
        <a:prstGeom prst="rect">
          <a:avLst/>
        </a:prstGeom>
        <a:blipFill rotWithShape="0">
          <a:blip xmlns:r="http://schemas.openxmlformats.org/officeDocument/2006/relationships" r:embed="rId2"/>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2097306" y="442419"/>
        <a:ext cx="1906642" cy="1143985"/>
      </dsp:txXfrm>
    </dsp:sp>
    <dsp:sp modelId="{113F226A-3817-428E-A3DE-1B20A71C551D}">
      <dsp:nvSpPr>
        <dsp:cNvPr id="0" name=""/>
        <dsp:cNvSpPr/>
      </dsp:nvSpPr>
      <dsp:spPr>
        <a:xfrm>
          <a:off x="4194612" y="442419"/>
          <a:ext cx="1906642" cy="1143985"/>
        </a:xfrm>
        <a:prstGeom prst="rect">
          <a:avLst/>
        </a:prstGeom>
        <a:blipFill rotWithShape="0">
          <a:blip xmlns:r="http://schemas.openxmlformats.org/officeDocument/2006/relationships" r:embed="rId3"/>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4194612" y="442419"/>
        <a:ext cx="1906642" cy="1143985"/>
      </dsp:txXfrm>
    </dsp:sp>
    <dsp:sp modelId="{935D58EE-7A1B-45A3-BC8B-AFC55EBD5459}">
      <dsp:nvSpPr>
        <dsp:cNvPr id="0" name=""/>
        <dsp:cNvSpPr/>
      </dsp:nvSpPr>
      <dsp:spPr>
        <a:xfrm>
          <a:off x="0" y="1777068"/>
          <a:ext cx="1906642" cy="1143985"/>
        </a:xfrm>
        <a:prstGeom prst="rect">
          <a:avLst/>
        </a:prstGeom>
        <a:blipFill rotWithShape="0">
          <a:blip xmlns:r="http://schemas.openxmlformats.org/officeDocument/2006/relationships" r:embed="rId4"/>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0" y="1777068"/>
        <a:ext cx="1906642" cy="1143985"/>
      </dsp:txXfrm>
    </dsp:sp>
    <dsp:sp modelId="{7B8BCD1F-4E1C-44C1-AE3A-13F1A3073A8D}">
      <dsp:nvSpPr>
        <dsp:cNvPr id="0" name=""/>
        <dsp:cNvSpPr/>
      </dsp:nvSpPr>
      <dsp:spPr>
        <a:xfrm>
          <a:off x="2097306" y="1777068"/>
          <a:ext cx="1906642" cy="1143985"/>
        </a:xfrm>
        <a:prstGeom prst="rect">
          <a:avLst/>
        </a:prstGeom>
        <a:blipFill rotWithShape="0">
          <a:blip xmlns:r="http://schemas.openxmlformats.org/officeDocument/2006/relationships" r:embed="rId5"/>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2097306" y="1777068"/>
        <a:ext cx="1906642" cy="1143985"/>
      </dsp:txXfrm>
    </dsp:sp>
    <dsp:sp modelId="{A38B5050-E769-4CD8-9389-D2EA3E8D9BD8}">
      <dsp:nvSpPr>
        <dsp:cNvPr id="0" name=""/>
        <dsp:cNvSpPr/>
      </dsp:nvSpPr>
      <dsp:spPr>
        <a:xfrm>
          <a:off x="4194612" y="1777068"/>
          <a:ext cx="1906642" cy="1143985"/>
        </a:xfrm>
        <a:prstGeom prst="rect">
          <a:avLst/>
        </a:prstGeom>
        <a:blipFill rotWithShape="0">
          <a:blip xmlns:r="http://schemas.openxmlformats.org/officeDocument/2006/relationships" r:embed="rId6"/>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4194612" y="1777068"/>
        <a:ext cx="1906642" cy="1143985"/>
      </dsp:txXfrm>
    </dsp:sp>
    <dsp:sp modelId="{EB7B9D5C-165B-4CFC-9616-70411928B03F}">
      <dsp:nvSpPr>
        <dsp:cNvPr id="0" name=""/>
        <dsp:cNvSpPr/>
      </dsp:nvSpPr>
      <dsp:spPr>
        <a:xfrm>
          <a:off x="1048653" y="3111718"/>
          <a:ext cx="1906642" cy="1143985"/>
        </a:xfrm>
        <a:prstGeom prst="rect">
          <a:avLst/>
        </a:prstGeom>
        <a:blipFill rotWithShape="0">
          <a:blip xmlns:r="http://schemas.openxmlformats.org/officeDocument/2006/relationships" r:embed="rId7"/>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1048653" y="3111718"/>
        <a:ext cx="1906642" cy="1143985"/>
      </dsp:txXfrm>
    </dsp:sp>
    <dsp:sp modelId="{963C5CD9-067B-423A-A4DB-94AEFF8A0808}">
      <dsp:nvSpPr>
        <dsp:cNvPr id="0" name=""/>
        <dsp:cNvSpPr/>
      </dsp:nvSpPr>
      <dsp:spPr>
        <a:xfrm>
          <a:off x="3145959" y="3111718"/>
          <a:ext cx="1906642" cy="1143985"/>
        </a:xfrm>
        <a:prstGeom prst="rect">
          <a:avLst/>
        </a:prstGeom>
        <a:blipFill rotWithShape="0">
          <a:blip xmlns:r="http://schemas.openxmlformats.org/officeDocument/2006/relationships" r:embed="rId8"/>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3145959" y="3111718"/>
        <a:ext cx="1906642" cy="114398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A47B77-6ED1-42AD-AD5A-59E17C9F95FE}">
      <dsp:nvSpPr>
        <dsp:cNvPr id="0" name=""/>
        <dsp:cNvSpPr/>
      </dsp:nvSpPr>
      <dsp:spPr>
        <a:xfrm>
          <a:off x="632744" y="1230"/>
          <a:ext cx="1459215" cy="1005399"/>
        </a:xfrm>
        <a:prstGeom prst="roundRect">
          <a:avLst/>
        </a:prstGeom>
        <a:blipFill rotWithShape="0">
          <a:blip xmlns:r="http://schemas.openxmlformats.org/officeDocument/2006/relationships" r:embed="rId1"/>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A6C9A8-5F48-4279-8A95-1B2D36FCD3EC}">
      <dsp:nvSpPr>
        <dsp:cNvPr id="0" name=""/>
        <dsp:cNvSpPr/>
      </dsp:nvSpPr>
      <dsp:spPr>
        <a:xfrm>
          <a:off x="632744"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Google</a:t>
          </a:r>
          <a:endParaRPr lang="en-US" sz="1500" kern="1200" dirty="0"/>
        </a:p>
      </dsp:txBody>
      <dsp:txXfrm>
        <a:off x="632744" y="1006629"/>
        <a:ext cx="1459215" cy="541368"/>
      </dsp:txXfrm>
    </dsp:sp>
    <dsp:sp modelId="{27511986-F383-42C4-835F-D5C9783CC67F}">
      <dsp:nvSpPr>
        <dsp:cNvPr id="0" name=""/>
        <dsp:cNvSpPr/>
      </dsp:nvSpPr>
      <dsp:spPr>
        <a:xfrm>
          <a:off x="2237942" y="1230"/>
          <a:ext cx="1459215" cy="1005399"/>
        </a:xfrm>
        <a:prstGeom prst="roundRect">
          <a:avLst/>
        </a:prstGeom>
        <a:blipFill rotWithShape="0">
          <a:blip xmlns:r="http://schemas.openxmlformats.org/officeDocument/2006/relationships" r:embed="rId2"/>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589DE4-4F46-46CA-B3C2-472F72D0FE8C}">
      <dsp:nvSpPr>
        <dsp:cNvPr id="0" name=""/>
        <dsp:cNvSpPr/>
      </dsp:nvSpPr>
      <dsp:spPr>
        <a:xfrm>
          <a:off x="2237942"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Facebook</a:t>
          </a:r>
          <a:endParaRPr lang="en-US" sz="1500" kern="1200" dirty="0"/>
        </a:p>
      </dsp:txBody>
      <dsp:txXfrm>
        <a:off x="2237942" y="1006629"/>
        <a:ext cx="1459215" cy="541368"/>
      </dsp:txXfrm>
    </dsp:sp>
    <dsp:sp modelId="{696C1309-E7C0-4B16-B888-7E0FF274CBCC}">
      <dsp:nvSpPr>
        <dsp:cNvPr id="0" name=""/>
        <dsp:cNvSpPr/>
      </dsp:nvSpPr>
      <dsp:spPr>
        <a:xfrm>
          <a:off x="3843140" y="1230"/>
          <a:ext cx="1459215" cy="1005399"/>
        </a:xfrm>
        <a:prstGeom prst="roundRect">
          <a:avLst/>
        </a:prstGeom>
        <a:blipFill rotWithShape="0">
          <a:blip xmlns:r="http://schemas.openxmlformats.org/officeDocument/2006/relationships" r:embed="rId3"/>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BA4DE8-3BD2-4631-A1F0-343E35538D40}">
      <dsp:nvSpPr>
        <dsp:cNvPr id="0" name=""/>
        <dsp:cNvSpPr/>
      </dsp:nvSpPr>
      <dsp:spPr>
        <a:xfrm>
          <a:off x="3843140"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Mozilla</a:t>
          </a:r>
          <a:endParaRPr lang="en-US" sz="1500" kern="1200" dirty="0"/>
        </a:p>
      </dsp:txBody>
      <dsp:txXfrm>
        <a:off x="3843140" y="1006629"/>
        <a:ext cx="1459215" cy="541368"/>
      </dsp:txXfrm>
    </dsp:sp>
    <dsp:sp modelId="{5A3D9A78-EB52-4DFA-AFD8-94BF370CE890}">
      <dsp:nvSpPr>
        <dsp:cNvPr id="0" name=""/>
        <dsp:cNvSpPr/>
      </dsp:nvSpPr>
      <dsp:spPr>
        <a:xfrm>
          <a:off x="5448338" y="1230"/>
          <a:ext cx="1459215" cy="1005399"/>
        </a:xfrm>
        <a:prstGeom prst="roundRect">
          <a:avLst/>
        </a:prstGeom>
        <a:blipFill rotWithShape="0">
          <a:blip xmlns:r="http://schemas.openxmlformats.org/officeDocument/2006/relationships" r:embed="rId4"/>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3C79BF-C979-4576-B39C-65237B0FA80B}">
      <dsp:nvSpPr>
        <dsp:cNvPr id="0" name=""/>
        <dsp:cNvSpPr/>
      </dsp:nvSpPr>
      <dsp:spPr>
        <a:xfrm>
          <a:off x="5448338"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Adobe</a:t>
          </a:r>
          <a:endParaRPr lang="en-US" sz="1500" kern="1200" dirty="0"/>
        </a:p>
      </dsp:txBody>
      <dsp:txXfrm>
        <a:off x="5448338" y="1006629"/>
        <a:ext cx="1459215" cy="541368"/>
      </dsp:txXfrm>
    </dsp:sp>
    <dsp:sp modelId="{1E9DC388-868B-437A-BC40-D7A12F244689}">
      <dsp:nvSpPr>
        <dsp:cNvPr id="0" name=""/>
        <dsp:cNvSpPr/>
      </dsp:nvSpPr>
      <dsp:spPr>
        <a:xfrm>
          <a:off x="632744" y="1693919"/>
          <a:ext cx="1459215" cy="1005399"/>
        </a:xfrm>
        <a:prstGeom prst="roundRect">
          <a:avLst/>
        </a:prstGeom>
        <a:blipFill rotWithShape="0">
          <a:blip xmlns:r="http://schemas.openxmlformats.org/officeDocument/2006/relationships" r:embed="rId5"/>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8CCCFD-249D-4FF5-99DF-693A1D7BE443}">
      <dsp:nvSpPr>
        <dsp:cNvPr id="0" name=""/>
        <dsp:cNvSpPr/>
      </dsp:nvSpPr>
      <dsp:spPr>
        <a:xfrm>
          <a:off x="632744"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Foursquare</a:t>
          </a:r>
          <a:endParaRPr lang="en-US" sz="1500" kern="1200" dirty="0"/>
        </a:p>
      </dsp:txBody>
      <dsp:txXfrm>
        <a:off x="632744" y="2699318"/>
        <a:ext cx="1459215" cy="541368"/>
      </dsp:txXfrm>
    </dsp:sp>
    <dsp:sp modelId="{3A1B0B2D-CD5B-4C05-B08C-2A5101F849C1}">
      <dsp:nvSpPr>
        <dsp:cNvPr id="0" name=""/>
        <dsp:cNvSpPr/>
      </dsp:nvSpPr>
      <dsp:spPr>
        <a:xfrm>
          <a:off x="2237942" y="1693919"/>
          <a:ext cx="1459215" cy="1005399"/>
        </a:xfrm>
        <a:prstGeom prst="roundRect">
          <a:avLst/>
        </a:prstGeom>
        <a:blipFill rotWithShape="0">
          <a:blip xmlns:r="http://schemas.openxmlformats.org/officeDocument/2006/relationships" r:embed="rId6"/>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BE8716-09BC-4815-A36A-2DA68E290539}">
      <dsp:nvSpPr>
        <dsp:cNvPr id="0" name=""/>
        <dsp:cNvSpPr/>
      </dsp:nvSpPr>
      <dsp:spPr>
        <a:xfrm>
          <a:off x="2237942"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LinkedIn</a:t>
          </a:r>
          <a:endParaRPr lang="en-US" sz="1500" kern="1200" dirty="0"/>
        </a:p>
      </dsp:txBody>
      <dsp:txXfrm>
        <a:off x="2237942" y="2699318"/>
        <a:ext cx="1459215" cy="541368"/>
      </dsp:txXfrm>
    </dsp:sp>
    <dsp:sp modelId="{640EA632-5192-41FB-811C-48E487BB24D9}">
      <dsp:nvSpPr>
        <dsp:cNvPr id="0" name=""/>
        <dsp:cNvSpPr/>
      </dsp:nvSpPr>
      <dsp:spPr>
        <a:xfrm>
          <a:off x="3843140" y="1693919"/>
          <a:ext cx="1459215" cy="1005399"/>
        </a:xfrm>
        <a:prstGeom prst="roundRect">
          <a:avLst/>
        </a:prstGeom>
        <a:blipFill rotWithShape="0">
          <a:blip xmlns:r="http://schemas.openxmlformats.org/officeDocument/2006/relationships" r:embed="rId7"/>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DB8B88-BC76-4AF0-B25F-5845A219F84C}">
      <dsp:nvSpPr>
        <dsp:cNvPr id="0" name=""/>
        <dsp:cNvSpPr/>
      </dsp:nvSpPr>
      <dsp:spPr>
        <a:xfrm>
          <a:off x="3843140"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Digg</a:t>
          </a:r>
          <a:endParaRPr lang="en-US" sz="1500" kern="1200" dirty="0"/>
        </a:p>
      </dsp:txBody>
      <dsp:txXfrm>
        <a:off x="3843140" y="2699318"/>
        <a:ext cx="1459215" cy="541368"/>
      </dsp:txXfrm>
    </dsp:sp>
    <dsp:sp modelId="{61EA8798-E03D-41E6-98D1-7DE34FF6A072}">
      <dsp:nvSpPr>
        <dsp:cNvPr id="0" name=""/>
        <dsp:cNvSpPr/>
      </dsp:nvSpPr>
      <dsp:spPr>
        <a:xfrm>
          <a:off x="5448338" y="1693919"/>
          <a:ext cx="1459215" cy="1005399"/>
        </a:xfrm>
        <a:prstGeom prst="roundRect">
          <a:avLst/>
        </a:prstGeom>
        <a:blipFill rotWithShape="0">
          <a:blip xmlns:r="http://schemas.openxmlformats.org/officeDocument/2006/relationships" r:embed="rId8"/>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B093C4-5F1D-4F83-A822-D98DFB8BFF2E}">
      <dsp:nvSpPr>
        <dsp:cNvPr id="0" name=""/>
        <dsp:cNvSpPr/>
      </dsp:nvSpPr>
      <dsp:spPr>
        <a:xfrm>
          <a:off x="5448338"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McGraw-Hill Education</a:t>
          </a:r>
          <a:endParaRPr lang="en-US" sz="1500" kern="1200" dirty="0"/>
        </a:p>
      </dsp:txBody>
      <dsp:txXfrm>
        <a:off x="5448338" y="2699318"/>
        <a:ext cx="1459215" cy="541368"/>
      </dsp:txXfrm>
    </dsp:sp>
    <dsp:sp modelId="{4ADDC6F3-2F88-4F8C-A13F-A220FB9C77E8}">
      <dsp:nvSpPr>
        <dsp:cNvPr id="0" name=""/>
        <dsp:cNvSpPr/>
      </dsp:nvSpPr>
      <dsp:spPr>
        <a:xfrm>
          <a:off x="3040541" y="3386608"/>
          <a:ext cx="1459215" cy="1005399"/>
        </a:xfrm>
        <a:prstGeom prst="roundRect">
          <a:avLst/>
        </a:prstGeom>
        <a:blipFill rotWithShape="0">
          <a:blip xmlns:r="http://schemas.openxmlformats.org/officeDocument/2006/relationships" r:embed="rId9"/>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6B6D0B-A438-474B-BD77-8C58E88467D3}">
      <dsp:nvSpPr>
        <dsp:cNvPr id="0" name=""/>
        <dsp:cNvSpPr/>
      </dsp:nvSpPr>
      <dsp:spPr>
        <a:xfrm>
          <a:off x="3040541" y="439200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Vermont Public Radio</a:t>
          </a:r>
          <a:endParaRPr lang="en-US" sz="1500" kern="1200" dirty="0"/>
        </a:p>
      </dsp:txBody>
      <dsp:txXfrm>
        <a:off x="3040541" y="4392008"/>
        <a:ext cx="1459215" cy="5413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D4DAD-84E4-4C0D-A77A-71DB20EA7F42}">
      <dsp:nvSpPr>
        <dsp:cNvPr id="0" name=""/>
        <dsp:cNvSpPr/>
      </dsp:nvSpPr>
      <dsp:spPr>
        <a:xfrm>
          <a:off x="0" y="18833"/>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at is NOSQL database</a:t>
          </a:r>
          <a:endParaRPr lang="en-US" sz="2000" kern="1200" dirty="0"/>
        </a:p>
      </dsp:txBody>
      <dsp:txXfrm>
        <a:off x="23560" y="42393"/>
        <a:ext cx="6846791" cy="435505"/>
      </dsp:txXfrm>
    </dsp:sp>
    <dsp:sp modelId="{D07FD76E-F7ED-4131-830B-421584A6753E}">
      <dsp:nvSpPr>
        <dsp:cNvPr id="0" name=""/>
        <dsp:cNvSpPr/>
      </dsp:nvSpPr>
      <dsp:spPr>
        <a:xfrm>
          <a:off x="0" y="573458"/>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dvantages of NOSQL</a:t>
          </a:r>
          <a:endParaRPr lang="en-US" sz="2000" kern="1200" dirty="0"/>
        </a:p>
      </dsp:txBody>
      <dsp:txXfrm>
        <a:off x="23560" y="597018"/>
        <a:ext cx="6846791" cy="435505"/>
      </dsp:txXfrm>
    </dsp:sp>
    <dsp:sp modelId="{521EA97D-2682-40D2-903C-71487C654160}">
      <dsp:nvSpPr>
        <dsp:cNvPr id="0" name=""/>
        <dsp:cNvSpPr/>
      </dsp:nvSpPr>
      <dsp:spPr>
        <a:xfrm>
          <a:off x="0" y="1128083"/>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y MongoDB </a:t>
          </a:r>
          <a:endParaRPr lang="en-US" sz="2000" kern="1200" dirty="0"/>
        </a:p>
      </dsp:txBody>
      <dsp:txXfrm>
        <a:off x="23560" y="1151643"/>
        <a:ext cx="6846791" cy="435505"/>
      </dsp:txXfrm>
    </dsp:sp>
    <dsp:sp modelId="{183E26D2-0296-47DA-A77C-D61AC51A7E61}">
      <dsp:nvSpPr>
        <dsp:cNvPr id="0" name=""/>
        <dsp:cNvSpPr/>
      </dsp:nvSpPr>
      <dsp:spPr>
        <a:xfrm>
          <a:off x="0" y="1682708"/>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ocument database</a:t>
          </a:r>
          <a:endParaRPr lang="en-US" sz="2000" kern="1200" dirty="0"/>
        </a:p>
      </dsp:txBody>
      <dsp:txXfrm>
        <a:off x="23560" y="1706268"/>
        <a:ext cx="6846791" cy="435505"/>
      </dsp:txXfrm>
    </dsp:sp>
    <dsp:sp modelId="{7F242ADD-83A8-4B5B-A481-5D52B014AB47}">
      <dsp:nvSpPr>
        <dsp:cNvPr id="0" name=""/>
        <dsp:cNvSpPr/>
      </dsp:nvSpPr>
      <dsp:spPr>
        <a:xfrm>
          <a:off x="0" y="2237333"/>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ata model</a:t>
          </a:r>
          <a:endParaRPr lang="en-US" sz="2000" kern="1200" dirty="0"/>
        </a:p>
      </dsp:txBody>
      <dsp:txXfrm>
        <a:off x="23560" y="2260893"/>
        <a:ext cx="6846791" cy="435505"/>
      </dsp:txXfrm>
    </dsp:sp>
    <dsp:sp modelId="{CBB7DB27-FC6A-4E28-917D-0300F17584B7}">
      <dsp:nvSpPr>
        <dsp:cNvPr id="0" name=""/>
        <dsp:cNvSpPr/>
      </dsp:nvSpPr>
      <dsp:spPr>
        <a:xfrm>
          <a:off x="0" y="2791958"/>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 Shell</a:t>
          </a:r>
          <a:endParaRPr lang="en-US" sz="2000" kern="1200" dirty="0"/>
        </a:p>
      </dsp:txBody>
      <dsp:txXfrm>
        <a:off x="23560" y="2815518"/>
        <a:ext cx="6846791" cy="435505"/>
      </dsp:txXfrm>
    </dsp:sp>
    <dsp:sp modelId="{6711257A-D50C-47BA-A5ED-6D6278D3C0F9}">
      <dsp:nvSpPr>
        <dsp:cNvPr id="0" name=""/>
        <dsp:cNvSpPr/>
      </dsp:nvSpPr>
      <dsp:spPr>
        <a:xfrm>
          <a:off x="0" y="3346583"/>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stablishing Connection</a:t>
          </a:r>
          <a:endParaRPr lang="en-US" sz="2000" kern="1200" dirty="0"/>
        </a:p>
      </dsp:txBody>
      <dsp:txXfrm>
        <a:off x="23560" y="3370143"/>
        <a:ext cx="6846791" cy="435505"/>
      </dsp:txXfrm>
    </dsp:sp>
    <dsp:sp modelId="{ADEAD7EC-56FB-46AE-93C1-F0B63C3058B8}">
      <dsp:nvSpPr>
        <dsp:cNvPr id="0" name=""/>
        <dsp:cNvSpPr/>
      </dsp:nvSpPr>
      <dsp:spPr>
        <a:xfrm>
          <a:off x="0" y="3901208"/>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nderstand about Collection, document and fields</a:t>
          </a:r>
          <a:endParaRPr lang="en-US" sz="2000" kern="1200" dirty="0"/>
        </a:p>
      </dsp:txBody>
      <dsp:txXfrm>
        <a:off x="23560" y="3924768"/>
        <a:ext cx="6846791" cy="43550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2">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List1#1">
  <dgm:title val=""/>
  <dgm:desc val=""/>
  <dgm:catLst>
    <dgm:cat type="list" pri="20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5/14/2018</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b-engines.com/en/ranking"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739814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effectLst/>
              </a:rPr>
              <a:t>1. Not Mature</a:t>
            </a:r>
            <a:r>
              <a:rPr lang="en-US" dirty="0" smtClean="0">
                <a:effectLst/>
              </a:rPr>
              <a:t/>
            </a:r>
            <a:br>
              <a:rPr lang="en-US" dirty="0" smtClean="0">
                <a:effectLst/>
              </a:rPr>
            </a:br>
            <a:r>
              <a:rPr lang="en-US" dirty="0" smtClean="0">
                <a:effectLst/>
              </a:rPr>
              <a:t>Rational models have been around for some time now compared to NoSQL models and as a result they have grown to be more functional and stable systems over the years.</a:t>
            </a:r>
          </a:p>
          <a:p>
            <a:r>
              <a:rPr lang="en-US" b="1" dirty="0" smtClean="0">
                <a:effectLst/>
              </a:rPr>
              <a:t>2. Less Support</a:t>
            </a:r>
            <a:r>
              <a:rPr lang="en-US" dirty="0" smtClean="0">
                <a:effectLst/>
              </a:rPr>
              <a:t/>
            </a:r>
            <a:br>
              <a:rPr lang="en-US" dirty="0" smtClean="0">
                <a:effectLst/>
              </a:rPr>
            </a:br>
            <a:r>
              <a:rPr lang="en-US" dirty="0" smtClean="0">
                <a:effectLst/>
              </a:rPr>
              <a:t>Every business should be reassured that in case a key function in their database system fails, they will have unlimited competent support any time. All rational model vendors have gone the extra mile to provide this assurance and made it sure that their support is available 24 hours which is not a step yet guaranteed by NoSQL vendors.</a:t>
            </a:r>
          </a:p>
          <a:p>
            <a:r>
              <a:rPr lang="en-US" b="1" dirty="0" smtClean="0">
                <a:effectLst/>
              </a:rPr>
              <a:t>3. Business Analytics And Intelligence</a:t>
            </a:r>
            <a:r>
              <a:rPr lang="en-US" dirty="0" smtClean="0">
                <a:effectLst/>
              </a:rPr>
              <a:t/>
            </a:r>
            <a:br>
              <a:rPr lang="en-US" dirty="0" smtClean="0">
                <a:effectLst/>
              </a:rPr>
            </a:br>
            <a:r>
              <a:rPr lang="en-US" dirty="0" smtClean="0">
                <a:effectLst/>
              </a:rPr>
              <a:t>NoSQL models were created because of the modern-day web 2.0 web applications in mind. And because of this, most NoSQL features are focused to meeting these demands ignoring the demands of apps made without these characteristics hence end up offering fewer analytic features for normal web apps.</a:t>
            </a:r>
          </a:p>
          <a:p>
            <a:r>
              <a:rPr lang="en-US" dirty="0" smtClean="0">
                <a:effectLst/>
              </a:rPr>
              <a:t>Any businesses looking to implement NoSQL model needs to do it with caution, remembering the above mentioned pros and cons they posse in contrast to their rational opposites.</a:t>
            </a:r>
            <a:endParaRPr lang="en-US" dirty="0">
              <a:effectLs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4023566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1.Flexible Scalability</a:t>
            </a:r>
            <a:r>
              <a:rPr lang="en-US" dirty="0" smtClean="0"/>
              <a:t/>
            </a:r>
            <a:br>
              <a:rPr lang="en-US" dirty="0" smtClean="0"/>
            </a:br>
            <a:r>
              <a:rPr lang="en-US" dirty="0" smtClean="0"/>
              <a:t>Unlike rational database management model that is difficult to scale out when it come to commodity clusters NoSQL models make use of new nodes which makes them transparent for expansion. The model is designed to be used even with low cost </a:t>
            </a:r>
            <a:r>
              <a:rPr lang="en-US" dirty="0" smtClean="0"/>
              <a:t>hardware's. </a:t>
            </a:r>
            <a:r>
              <a:rPr lang="en-US" dirty="0" smtClean="0"/>
              <a:t>In this current world where outward scalability is replacing upwards scalability, NoSQL models are the better option.</a:t>
            </a:r>
          </a:p>
          <a:p>
            <a:r>
              <a:rPr lang="en-US" b="1" dirty="0" smtClean="0"/>
              <a:t>2. Stores Massive Amounts Of Data</a:t>
            </a:r>
            <a:r>
              <a:rPr lang="en-US" dirty="0" smtClean="0"/>
              <a:t/>
            </a:r>
            <a:br>
              <a:rPr lang="en-US" dirty="0" smtClean="0"/>
            </a:br>
            <a:r>
              <a:rPr lang="en-US" dirty="0" smtClean="0"/>
              <a:t>Given the fact that transaction rates are rising due to recognition, huge volumes of data need to be stored. While rational models have grown to meet this need it is illogical to use such models to store such large volumes of data. However these volumes can easily be handled by NoSQL models</a:t>
            </a:r>
          </a:p>
          <a:p>
            <a:r>
              <a:rPr lang="en-US" b="1" dirty="0" smtClean="0"/>
              <a:t>3. Database Maintenance</a:t>
            </a:r>
            <a:r>
              <a:rPr lang="en-US" dirty="0" smtClean="0"/>
              <a:t/>
            </a:r>
            <a:br>
              <a:rPr lang="en-US" dirty="0" smtClean="0"/>
            </a:br>
            <a:r>
              <a:rPr lang="en-US" dirty="0" smtClean="0"/>
              <a:t>The best rational models need the service of an expert to design, install and maintain. However, NoSQL models need much less expert management as it already has auto repair and data distribution capabilities, fewer administration and turning requirements as well as simplified data designs.</a:t>
            </a:r>
          </a:p>
          <a:p>
            <a:r>
              <a:rPr lang="en-US" b="1" dirty="0" smtClean="0"/>
              <a:t>4. Economical</a:t>
            </a:r>
            <a:r>
              <a:rPr lang="en-US" dirty="0" smtClean="0"/>
              <a:t/>
            </a:r>
            <a:br>
              <a:rPr lang="en-US" dirty="0" smtClean="0"/>
            </a:br>
            <a:r>
              <a:rPr lang="en-US" dirty="0" smtClean="0"/>
              <a:t>Rational models require expensive proprietary servers and storage systems whereas NoSQL models are easy and cheap to install. This means that more data can be processed and stored at a very minimal cos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1350218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SQL databases differ from older, relational technology in four main areas:</a:t>
            </a:r>
          </a:p>
          <a:p>
            <a:r>
              <a:rPr lang="en-US" b="1" dirty="0" smtClean="0"/>
              <a:t>Data models: </a:t>
            </a:r>
            <a:r>
              <a:rPr lang="en-US" dirty="0" smtClean="0"/>
              <a:t>A NoSQL database lets you build an application without having to define the schema first unlike relational databases which make you define your schema before you can add any data to the system. No predefined schema makes NoSQL databases much easier to update as your data and requirements change.</a:t>
            </a:r>
          </a:p>
          <a:p>
            <a:r>
              <a:rPr lang="en-US" b="1" dirty="0" smtClean="0"/>
              <a:t>Data structure: </a:t>
            </a:r>
            <a:r>
              <a:rPr lang="en-US" dirty="0" smtClean="0"/>
              <a:t>Relational databases were built in an era where data was fairly structured and clearly defined by their relationships. NoSQL databases are designed to handle unstructured data (e.g., texts, social media posts, video, email) which makes up much of the data that exists today.</a:t>
            </a:r>
          </a:p>
          <a:p>
            <a:r>
              <a:rPr lang="en-US" b="1" dirty="0" smtClean="0"/>
              <a:t>Scaling: </a:t>
            </a:r>
            <a:r>
              <a:rPr lang="en-US" dirty="0" smtClean="0"/>
              <a:t>It’s much cheaper to scale a NoSQL database than a relational database because you can add capacity by scaling out over cheap, commodity servers. Relational databases, on the other hand, require a single server to host your entire database. To scale, you need to buy a bigger, more expensive server.</a:t>
            </a:r>
          </a:p>
          <a:p>
            <a:r>
              <a:rPr lang="en-US" b="1" dirty="0" smtClean="0"/>
              <a:t>Development model: </a:t>
            </a:r>
            <a:r>
              <a:rPr lang="en-US" dirty="0" smtClean="0"/>
              <a:t>NoSQL databases are open source whereas relational databases typically are closed source with licensing fees baked into the use of their software. With NoSQL, you can get started on a project without any heavy investments in software fees upfron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16583826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4146745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35578674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561761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698626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2307995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r>
              <a:rPr lang="en-US" dirty="0" smtClean="0"/>
              <a:t>Based on just these two criteria alone, MongoDB is the NoSQL database to consider for your modern, Big Data applications. </a:t>
            </a:r>
          </a:p>
          <a:p>
            <a:endParaRPr lang="en-US" dirty="0" smtClean="0"/>
          </a:p>
          <a:p>
            <a:endParaRPr lang="en-US" dirty="0" smtClean="0"/>
          </a:p>
          <a:p>
            <a:r>
              <a:rPr lang="en-US" dirty="0" smtClean="0"/>
              <a:t>The most popular database with 10 million downloads and counting, MongoDB has a thriving developer community with thousands of certified professionals, and it consistently ranks as the most popular.</a:t>
            </a:r>
          </a:p>
          <a:p>
            <a:endParaRPr lang="en-US" dirty="0" smtClean="0"/>
          </a:p>
          <a:p>
            <a:endParaRPr lang="en-US" dirty="0" smtClean="0"/>
          </a:p>
          <a:p>
            <a:r>
              <a:rPr lang="en-US" dirty="0" smtClean="0"/>
              <a:t> NoSQL database according to </a:t>
            </a:r>
            <a:r>
              <a:rPr lang="en-US" dirty="0" smtClean="0">
                <a:hlinkClick r:id="rId3"/>
              </a:rPr>
              <a:t>DB-Engines’</a:t>
            </a:r>
            <a:r>
              <a:rPr lang="en-US" dirty="0" smtClean="0"/>
              <a:t> monthly rankings. Also, as a general purpose database you can successfully employ MongoDB to address many different use cas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1593266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1706694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833274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5832827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2656096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1795098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buFontTx/>
              <a:buChar char="•"/>
            </a:pPr>
            <a:r>
              <a:rPr lang="hu-HU" dirty="0" smtClean="0">
                <a:latin typeface="Arial" pitchFamily="34" charset="0"/>
              </a:rPr>
              <a:t>Huge quantity of data =&gt; Distributed systems =&gt; expensive joins =&gt;</a:t>
            </a:r>
            <a:endParaRPr lang="hu-HU" dirty="0" smtClean="0"/>
          </a:p>
          <a:p>
            <a:pPr eaLnBrk="1" hangingPunct="1">
              <a:buFontTx/>
              <a:buChar char="•"/>
            </a:pPr>
            <a:r>
              <a:rPr lang="hu-HU" dirty="0" smtClean="0"/>
              <a:t>New fields, new demands (graphs) =&gt;</a:t>
            </a:r>
          </a:p>
          <a:p>
            <a:pPr eaLnBrk="1" hangingPunct="1"/>
            <a:endParaRPr lang="hu-HU" dirty="0" smtClean="0"/>
          </a:p>
          <a:p>
            <a:pPr eaLnBrk="1" hangingPunct="1"/>
            <a:r>
              <a:rPr lang="hu-HU" dirty="0" smtClean="0"/>
              <a:t>Different data strucutres:</a:t>
            </a:r>
          </a:p>
          <a:p>
            <a:pPr eaLnBrk="1" hangingPunct="1"/>
            <a:r>
              <a:rPr lang="hu-HU" dirty="0" smtClean="0"/>
              <a:t>	Simplier or more specific</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5608116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519617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046637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fontAlgn="base"/>
            <a:r>
              <a:rPr lang="en-US" sz="1000" b="0" i="0" kern="1200" dirty="0" smtClean="0">
                <a:solidFill>
                  <a:schemeClr val="tx1"/>
                </a:solidFill>
                <a:effectLst/>
                <a:latin typeface="Arial" panose="020B0604020202020204" pitchFamily="34" charset="0"/>
                <a:ea typeface="+mn-ea"/>
                <a:cs typeface="Arial" pitchFamily="34" charset="0"/>
              </a:rPr>
              <a:t>One key difference between NoSQL databases and traditional relational databases is the fact that NoSQL is a form of </a:t>
            </a:r>
            <a:r>
              <a:rPr lang="en-US" sz="1000" b="0" i="1" kern="1200" dirty="0" smtClean="0">
                <a:solidFill>
                  <a:schemeClr val="tx1"/>
                </a:solidFill>
                <a:effectLst/>
                <a:latin typeface="Arial" panose="020B0604020202020204" pitchFamily="34" charset="0"/>
                <a:ea typeface="+mn-ea"/>
                <a:cs typeface="Arial" pitchFamily="34" charset="0"/>
              </a:rPr>
              <a:t>unstructured storage</a:t>
            </a:r>
            <a:r>
              <a:rPr lang="en-US" sz="1000" b="0" i="0" kern="1200" dirty="0" smtClean="0">
                <a:solidFill>
                  <a:schemeClr val="tx1"/>
                </a:solidFill>
                <a:effectLst/>
                <a:latin typeface="Arial" panose="020B0604020202020204" pitchFamily="34" charset="0"/>
                <a:ea typeface="+mn-ea"/>
                <a:cs typeface="Arial" pitchFamily="34" charset="0"/>
              </a:rPr>
              <a:t>.</a:t>
            </a:r>
          </a:p>
          <a:p>
            <a:r>
              <a:rPr lang="en-US" dirty="0" smtClean="0"/>
              <a:t/>
            </a:r>
            <a:br>
              <a:rPr lang="en-US" dirty="0" smtClean="0"/>
            </a:br>
            <a:r>
              <a:rPr lang="en-US" sz="1000" b="0" i="0" kern="1200" dirty="0" smtClean="0">
                <a:solidFill>
                  <a:schemeClr val="tx1"/>
                </a:solidFill>
                <a:effectLst/>
                <a:latin typeface="Arial" panose="020B0604020202020204" pitchFamily="34" charset="0"/>
                <a:ea typeface="+mn-ea"/>
                <a:cs typeface="Arial" pitchFamily="34" charset="0"/>
              </a:rPr>
              <a:t>With the explosion of social media, user driven content has grown rapidly and has increased the volume and type of data that is produced, managed, analyzed, and archived. In addition, new sources of data, such as sensors, Global Positioning Systems or GPS, automated trackers, and other monitoring systems generate huge volumes of data on a regular basi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To resolve the problems related to large-volume and semi-structured data, a class of new database products have emerged. These new classes of database products consist of column-based data stores, key/value pair databases, and document databases. Together, these are called NoSQL. The NoSQL database consists of diverse products with each product having unique sets of features and value propositions. </a:t>
            </a:r>
            <a:r>
              <a:rPr lang="en-US" dirty="0" smtClean="0"/>
              <a:t/>
            </a:r>
            <a:br>
              <a:rPr lang="en-US" dirty="0" smtClean="0"/>
            </a:br>
            <a:endParaRPr lang="en-US" dirty="0"/>
          </a:p>
        </p:txBody>
      </p:sp>
    </p:spTree>
    <p:extLst>
      <p:ext uri="{BB962C8B-B14F-4D97-AF65-F5344CB8AC3E}">
        <p14:creationId xmlns:p14="http://schemas.microsoft.com/office/powerpoint/2010/main" val="2021372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6.png"/><Relationship Id="rId5" Type="http://schemas.openxmlformats.org/officeDocument/2006/relationships/tags" Target="../tags/tag6.xml"/><Relationship Id="rId10" Type="http://schemas.openxmlformats.org/officeDocument/2006/relationships/image" Target="../media/image5.png"/><Relationship Id="rId4" Type="http://schemas.openxmlformats.org/officeDocument/2006/relationships/tags" Target="../tags/tag5.xml"/><Relationship Id="rId9"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540186" y="0"/>
            <a:ext cx="9180805"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99797" y="1844826"/>
            <a:ext cx="4274714"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31490" y="6101474"/>
            <a:ext cx="1857375" cy="510013"/>
          </a:xfrm>
          <a:prstGeom prst="rect">
            <a:avLst/>
          </a:prstGeom>
        </p:spPr>
      </p:pic>
    </p:spTree>
    <p:extLst>
      <p:ext uri="{BB962C8B-B14F-4D97-AF65-F5344CB8AC3E}">
        <p14:creationId xmlns:p14="http://schemas.microsoft.com/office/powerpoint/2010/main" val="2989547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323392" y="1124607"/>
            <a:ext cx="7359911" cy="501391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1654635047"/>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47061" cy="143985"/>
        </p:xfrm>
        <a:graphic>
          <a:graphicData uri="http://schemas.openxmlformats.org/presentationml/2006/ole">
            <mc:AlternateContent xmlns:mc="http://schemas.openxmlformats.org/markup-compatibility/2006">
              <mc:Choice xmlns:v="urn:schemas-microsoft-com:vml" Requires="v">
                <p:oleObj spid="_x0000_s9257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23392" y="1072055"/>
            <a:ext cx="9582608" cy="5066463"/>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153410999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323393" y="1494767"/>
            <a:ext cx="7203894"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5467441"/>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323393" y="1171255"/>
            <a:ext cx="7106108"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9500" y="1828800"/>
            <a:ext cx="24765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7661392"/>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323393" y="1160981"/>
            <a:ext cx="7461338"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646036"/>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35619" y="418453"/>
            <a:ext cx="7644834"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323393" y="1202076"/>
            <a:ext cx="7461338"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99352487"/>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9453724"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xmlns="" id="{834ADCB4-BFB1-450D-8F6D-64217F4CD92C}"/>
              </a:ext>
            </a:extLst>
          </p:cNvPr>
          <p:cNvSpPr/>
          <p:nvPr userDrawn="1"/>
        </p:nvSpPr>
        <p:spPr>
          <a:xfrm>
            <a:off x="2771746" y="6555758"/>
            <a:ext cx="180674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99374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8"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1"/>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2"/>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4"/>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1" cstate="print"/>
          <a:srcRect/>
          <a:stretch>
            <a:fillRect/>
          </a:stretch>
        </p:blipFill>
        <p:spPr bwMode="auto">
          <a:xfrm>
            <a:off x="5767587" y="525521"/>
            <a:ext cx="3048867" cy="871645"/>
          </a:xfrm>
          <a:prstGeom prst="rect">
            <a:avLst/>
          </a:prstGeom>
          <a:noFill/>
          <a:ln w="9525">
            <a:noFill/>
            <a:miter lim="800000"/>
            <a:headEnd/>
            <a:tailEnd/>
          </a:ln>
        </p:spPr>
      </p:pic>
    </p:spTree>
    <p:extLst>
      <p:ext uri="{BB962C8B-B14F-4D97-AF65-F5344CB8AC3E}">
        <p14:creationId xmlns:p14="http://schemas.microsoft.com/office/powerpoint/2010/main" val="2403353303"/>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92374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540272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9453724"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xmlns="" id="{834ADCB4-BFB1-450D-8F6D-64217F4CD92C}"/>
              </a:ext>
            </a:extLst>
          </p:cNvPr>
          <p:cNvSpPr/>
          <p:nvPr userDrawn="1"/>
        </p:nvSpPr>
        <p:spPr>
          <a:xfrm>
            <a:off x="2771746" y="6555758"/>
            <a:ext cx="180674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79431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9453724"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xmlns="" id="{834ADCB4-BFB1-450D-8F6D-64217F4CD92C}"/>
              </a:ext>
            </a:extLst>
          </p:cNvPr>
          <p:cNvSpPr/>
          <p:nvPr userDrawn="1"/>
        </p:nvSpPr>
        <p:spPr>
          <a:xfrm>
            <a:off x="2771746" y="6555758"/>
            <a:ext cx="180674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2694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9453724"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xmlns="" id="{834ADCB4-BFB1-450D-8F6D-64217F4CD92C}"/>
              </a:ext>
            </a:extLst>
          </p:cNvPr>
          <p:cNvSpPr/>
          <p:nvPr userDrawn="1"/>
        </p:nvSpPr>
        <p:spPr>
          <a:xfrm>
            <a:off x="2771746" y="6555758"/>
            <a:ext cx="180674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044939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47061" cy="143985"/>
        </p:xfrm>
        <a:graphic>
          <a:graphicData uri="http://schemas.openxmlformats.org/presentationml/2006/ole">
            <mc:AlternateContent xmlns:mc="http://schemas.openxmlformats.org/markup-compatibility/2006">
              <mc:Choice xmlns:v="urn:schemas-microsoft-com:vml" Requires="v">
                <p:oleObj spid="_x0000_s9298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23392" y="1494767"/>
            <a:ext cx="9582608"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98461312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95300" y="6356351"/>
            <a:ext cx="23114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21991620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740532" y="-3448"/>
            <a:ext cx="9180805"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99797" y="1844826"/>
            <a:ext cx="4274714"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31490" y="6101474"/>
            <a:ext cx="1857375" cy="510013"/>
          </a:xfrm>
          <a:prstGeom prst="rect">
            <a:avLst/>
          </a:prstGeom>
        </p:spPr>
      </p:pic>
    </p:spTree>
    <p:extLst>
      <p:ext uri="{BB962C8B-B14F-4D97-AF65-F5344CB8AC3E}">
        <p14:creationId xmlns:p14="http://schemas.microsoft.com/office/powerpoint/2010/main" val="851120340"/>
      </p:ext>
    </p:extLst>
  </p:cSld>
  <p:clrMapOvr>
    <a:masterClrMapping/>
  </p:clrMapOvr>
  <p:hf sldNum="0"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5" Type="http://schemas.openxmlformats.org/officeDocument/2006/relationships/image" Target="../media/image16.sv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 Id="rId19" Type="http://schemas.openxmlformats.org/officeDocument/2006/relationships/image" Target="../media/image16.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4.svg"/><Relationship Id="rId5" Type="http://schemas.openxmlformats.org/officeDocument/2006/relationships/slideLayout" Target="../slideLayouts/slideLayout13.xml"/><Relationship Id="rId10" Type="http://schemas.openxmlformats.org/officeDocument/2006/relationships/image" Target="../media/image1.png"/><Relationship Id="rId4" Type="http://schemas.openxmlformats.org/officeDocument/2006/relationships/slideLayout" Target="../slideLayouts/slideLayout12.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35618" y="418453"/>
            <a:ext cx="9005370"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35618" y="1066717"/>
            <a:ext cx="9238893"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1607177740"/>
      </p:ext>
    </p:extLst>
  </p:cSld>
  <p:clrMap bg1="lt1" tx1="dk1" bg2="lt2" tx2="dk2" accent1="accent1" accent2="accent2" accent3="accent3" accent4="accent4" accent5="accent5" accent6="accent6" hlink="hlink" folHlink="folHlink"/>
  <p:sldLayoutIdLst>
    <p:sldLayoutId id="2147484305" r:id="rId1"/>
    <p:sldLayoutId id="2147484357" r:id="rId2"/>
    <p:sldLayoutId id="2147484359" r:id="rId3"/>
    <p:sldLayoutId id="2147484363" r:id="rId4"/>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35618" y="332896"/>
            <a:ext cx="8950991"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25"/>
              </a:ext>
            </a:extLst>
          </a:blip>
          <a:srcRect l="81836" t="-4713" b="16530"/>
          <a:stretch/>
        </p:blipFill>
        <p:spPr>
          <a:xfrm>
            <a:off x="9382583" y="188640"/>
            <a:ext cx="344789"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35618" y="976046"/>
            <a:ext cx="9238893"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0153652" y="1590548"/>
            <a:ext cx="483495"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10637145" y="1590548"/>
            <a:ext cx="483495"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1120640" y="1590548"/>
            <a:ext cx="483495"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1604134" y="1590548"/>
            <a:ext cx="483495"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2087629" y="1590548"/>
            <a:ext cx="483495"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10153652" y="2468609"/>
            <a:ext cx="483495"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10637145" y="2468609"/>
            <a:ext cx="483495"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1120640" y="2468609"/>
            <a:ext cx="483495"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1604134" y="2468609"/>
            <a:ext cx="483495"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2087629" y="2468609"/>
            <a:ext cx="483495"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1120640" y="3089932"/>
            <a:ext cx="483495"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2087629" y="3089932"/>
            <a:ext cx="483495"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2087629" y="4948919"/>
            <a:ext cx="483495"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2087629" y="4330087"/>
            <a:ext cx="483495"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2087629" y="3711255"/>
            <a:ext cx="483495"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1604134" y="3089932"/>
            <a:ext cx="483495"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1604134" y="3711255"/>
            <a:ext cx="483495"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1604134" y="4330087"/>
            <a:ext cx="483495"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1015365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1015365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1120640"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1120640" y="3711255"/>
            <a:ext cx="483495"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708985121"/>
      </p:ext>
    </p:extLst>
  </p:cSld>
  <p:clrMap bg1="lt1" tx1="dk1" bg2="lt2" tx2="dk2" accent1="accent1" accent2="accent2" accent3="accent3" accent4="accent4" accent5="accent5" accent6="accent6" hlink="hlink" folHlink="folHlink"/>
  <p:sldLayoutIdLst>
    <p:sldLayoutId id="2147484307" r:id="rId1"/>
    <p:sldLayoutId id="2147484308" r:id="rId2"/>
    <p:sldLayoutId id="2147484361" r:id="rId3"/>
    <p:sldLayoutId id="2147484362" r:id="rId4"/>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
            <a:extLst>
              <a:ext uri="{96DAC541-7B7A-43D3-8B79-37D633B846F1}">
                <asvg:svgBlip xmlns:asvg="http://schemas.microsoft.com/office/drawing/2016/SVG/main" xmlns="" r:embed="rId19"/>
              </a:ext>
            </a:extLst>
          </a:blip>
          <a:srcRect l="81836" t="-4713" b="16530"/>
          <a:stretch/>
        </p:blipFill>
        <p:spPr>
          <a:xfrm>
            <a:off x="9382583" y="188640"/>
            <a:ext cx="344789"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31491" y="404815"/>
            <a:ext cx="8950991"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35618" y="1140432"/>
            <a:ext cx="9238893"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10153652" y="1590548"/>
            <a:ext cx="483495"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10637145" y="1590548"/>
            <a:ext cx="483495"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1120640" y="1590548"/>
            <a:ext cx="483495"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1604134" y="1590548"/>
            <a:ext cx="483495"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2087629" y="1590548"/>
            <a:ext cx="483495"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10153652" y="2468609"/>
            <a:ext cx="483495"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10637145" y="2468609"/>
            <a:ext cx="483495"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1120640" y="2468609"/>
            <a:ext cx="483495"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1604134" y="2468609"/>
            <a:ext cx="483495"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2087629" y="2468609"/>
            <a:ext cx="483495"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1120640" y="3089932"/>
            <a:ext cx="483495"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2087629" y="3089932"/>
            <a:ext cx="483495"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2087629" y="4948919"/>
            <a:ext cx="483495"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2087629" y="4330087"/>
            <a:ext cx="483495"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2087629" y="3711255"/>
            <a:ext cx="483495"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1604134" y="3089932"/>
            <a:ext cx="483495"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1604134" y="3711255"/>
            <a:ext cx="483495"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1604134" y="4330087"/>
            <a:ext cx="483495"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1015365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1015365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1120640"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1120640" y="3711255"/>
            <a:ext cx="483495"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50709864"/>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35618" y="418453"/>
            <a:ext cx="9005370"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35618" y="1412877"/>
            <a:ext cx="9238893"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1483283982"/>
      </p:ext>
    </p:extLst>
  </p:cSld>
  <p:clrMap bg1="lt1" tx1="dk1" bg2="lt2" tx2="dk2" accent1="accent1" accent2="accent2" accent3="accent3" accent4="accent4" accent5="accent5" accent6="accent6" hlink="hlink" folHlink="folHlink"/>
  <p:sldLayoutIdLst>
    <p:sldLayoutId id="2147484311" r:id="rId1"/>
    <p:sldLayoutId id="2147484313" r:id="rId2"/>
    <p:sldLayoutId id="2147484314" r:id="rId3"/>
    <p:sldLayoutId id="2147484315" r:id="rId4"/>
    <p:sldLayoutId id="2147484316" r:id="rId5"/>
    <p:sldLayoutId id="2147484317" r:id="rId6"/>
    <p:sldLayoutId id="2147484318" r:id="rId7"/>
    <p:sldLayoutId id="2147484364"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6.xml"/><Relationship Id="rId7" Type="http://schemas.openxmlformats.org/officeDocument/2006/relationships/diagramData" Target="../diagrams/data4.xml"/><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image" Target="../media/image7.emf"/><Relationship Id="rId11" Type="http://schemas.microsoft.com/office/2007/relationships/diagramDrawing" Target="../diagrams/drawing4.xml"/><Relationship Id="rId5" Type="http://schemas.openxmlformats.org/officeDocument/2006/relationships/oleObject" Target="../embeddings/oleObject11.bin"/><Relationship Id="rId10" Type="http://schemas.openxmlformats.org/officeDocument/2006/relationships/diagramColors" Target="../diagrams/colors4.xml"/><Relationship Id="rId4" Type="http://schemas.openxmlformats.org/officeDocument/2006/relationships/notesSlide" Target="../notesSlides/notesSlide9.xml"/><Relationship Id="rId9"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7.png"/><Relationship Id="rId2" Type="http://schemas.openxmlformats.org/officeDocument/2006/relationships/tags" Target="../tags/tag32.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6.xml"/><Relationship Id="rId7" Type="http://schemas.openxmlformats.org/officeDocument/2006/relationships/diagramData" Target="../diagrams/data5.xml"/><Relationship Id="rId2" Type="http://schemas.openxmlformats.org/officeDocument/2006/relationships/tags" Target="../tags/tag33.xml"/><Relationship Id="rId1" Type="http://schemas.openxmlformats.org/officeDocument/2006/relationships/vmlDrawing" Target="../drawings/vmlDrawing13.vml"/><Relationship Id="rId6" Type="http://schemas.openxmlformats.org/officeDocument/2006/relationships/image" Target="../media/image7.emf"/><Relationship Id="rId11" Type="http://schemas.microsoft.com/office/2007/relationships/diagramDrawing" Target="../diagrams/drawing5.xml"/><Relationship Id="rId5" Type="http://schemas.openxmlformats.org/officeDocument/2006/relationships/oleObject" Target="../embeddings/oleObject13.bin"/><Relationship Id="rId10" Type="http://schemas.openxmlformats.org/officeDocument/2006/relationships/diagramColors" Target="../diagrams/colors5.xml"/><Relationship Id="rId4" Type="http://schemas.openxmlformats.org/officeDocument/2006/relationships/notesSlide" Target="../notesSlides/notesSlide15.xml"/><Relationship Id="rId9" Type="http://schemas.openxmlformats.org/officeDocument/2006/relationships/diagramQuickStyle" Target="../diagrams/quickStyle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9.png"/><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35.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slideLayout" Target="../slideLayouts/slideLayout11.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tags" Target="../tags/tag37.xml"/><Relationship Id="rId16" Type="http://schemas.microsoft.com/office/2007/relationships/diagramDrawing" Target="../diagrams/drawing7.xml"/><Relationship Id="rId1" Type="http://schemas.openxmlformats.org/officeDocument/2006/relationships/vmlDrawing" Target="../drawings/vmlDrawing17.vml"/><Relationship Id="rId6" Type="http://schemas.openxmlformats.org/officeDocument/2006/relationships/image" Target="../media/image7.emf"/><Relationship Id="rId11" Type="http://schemas.microsoft.com/office/2007/relationships/diagramDrawing" Target="../diagrams/drawing6.xml"/><Relationship Id="rId5" Type="http://schemas.openxmlformats.org/officeDocument/2006/relationships/oleObject" Target="../embeddings/oleObject17.bin"/><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notesSlide" Target="../notesSlides/notesSlide2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hyperlink" Target="http://www.google.co.in/url?sa=i&amp;rct=j&amp;q=&amp;esrc=s&amp;source=images&amp;cd=&amp;cad=rja&amp;uact=8&amp;ved=&amp;url=http://beach-aruba.com/arubabeaches/attachment/facebook-logo/&amp;bvm=bv.121099550,d.bGg&amp;psig=AFQjCNGROPeV2bdRsVLj6WwJSzwwpQO37Q&amp;ust=1462429193092609" TargetMode="External"/><Relationship Id="rId3" Type="http://schemas.openxmlformats.org/officeDocument/2006/relationships/slideLayout" Target="../slideLayouts/slideLayout6.xml"/><Relationship Id="rId7" Type="http://schemas.openxmlformats.org/officeDocument/2006/relationships/diagramData" Target="../diagrams/data8.xml"/><Relationship Id="rId12" Type="http://schemas.openxmlformats.org/officeDocument/2006/relationships/hyperlink" Target="https://www.google.co.in/url?sa=i&amp;rct=j&amp;q=&amp;esrc=s&amp;source=images&amp;cd=&amp;cad=rja&amp;uact=8&amp;ved=0ahUKEwjh48jR47_MAhVMVSwKHVHaBK8QjRwIBw&amp;url=https://www.facebookbrand.com/&amp;bvm=bv.121099550,d.bGg&amp;psig=AFQjCNGROPeV2bdRsVLj6WwJSzwwpQO37Q&amp;ust=1462429193092609" TargetMode="External"/><Relationship Id="rId2" Type="http://schemas.openxmlformats.org/officeDocument/2006/relationships/tags" Target="../tags/tag38.xml"/><Relationship Id="rId1" Type="http://schemas.openxmlformats.org/officeDocument/2006/relationships/vmlDrawing" Target="../drawings/vmlDrawing18.vml"/><Relationship Id="rId6" Type="http://schemas.openxmlformats.org/officeDocument/2006/relationships/image" Target="../media/image7.emf"/><Relationship Id="rId11" Type="http://schemas.microsoft.com/office/2007/relationships/diagramDrawing" Target="../diagrams/drawing8.xml"/><Relationship Id="rId5" Type="http://schemas.openxmlformats.org/officeDocument/2006/relationships/oleObject" Target="../embeddings/oleObject18.bin"/><Relationship Id="rId10" Type="http://schemas.openxmlformats.org/officeDocument/2006/relationships/diagramColors" Target="../diagrams/colors8.xml"/><Relationship Id="rId4" Type="http://schemas.openxmlformats.org/officeDocument/2006/relationships/notesSlide" Target="../notesSlides/notesSlide26.xml"/><Relationship Id="rId9" Type="http://schemas.openxmlformats.org/officeDocument/2006/relationships/diagramQuickStyle" Target="../diagrams/quickStyle8.xml"/><Relationship Id="rId14" Type="http://schemas.openxmlformats.org/officeDocument/2006/relationships/hyperlink" Target="http://www.google.co.in/url?sa=i&amp;rct=j&amp;q=&amp;esrc=s&amp;source=images&amp;cd=&amp;cad=rja&amp;uact=8&amp;ved=0ahUKEwj-1YCU5L_MAhVLDywKHZgOAl0QjRwIBw&amp;url=http://seeklogo.com/tag.html?q=Adobe&amp;bvm=bv.121099550,d.bGg&amp;psig=AFQjCNFQiH_PAph7d91fWOy3N48Cdl82mQ&amp;ust=1462429372368661" TargetMode="Externa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6.xml"/><Relationship Id="rId7" Type="http://schemas.openxmlformats.org/officeDocument/2006/relationships/diagramData" Target="../diagrams/data9.xml"/><Relationship Id="rId2" Type="http://schemas.openxmlformats.org/officeDocument/2006/relationships/tags" Target="../tags/tag39.xml"/><Relationship Id="rId1" Type="http://schemas.openxmlformats.org/officeDocument/2006/relationships/vmlDrawing" Target="../drawings/vmlDrawing19.vml"/><Relationship Id="rId6" Type="http://schemas.openxmlformats.org/officeDocument/2006/relationships/image" Target="../media/image7.emf"/><Relationship Id="rId11" Type="http://schemas.microsoft.com/office/2007/relationships/diagramDrawing" Target="../diagrams/drawing9.xml"/><Relationship Id="rId5" Type="http://schemas.openxmlformats.org/officeDocument/2006/relationships/oleObject" Target="../embeddings/oleObject19.bin"/><Relationship Id="rId10" Type="http://schemas.openxmlformats.org/officeDocument/2006/relationships/diagramColors" Target="../diagrams/colors9.xml"/><Relationship Id="rId4" Type="http://schemas.openxmlformats.org/officeDocument/2006/relationships/notesSlide" Target="../notesSlides/notesSlide27.xml"/><Relationship Id="rId9" Type="http://schemas.openxmlformats.org/officeDocument/2006/relationships/diagramQuickStyle" Target="../diagrams/quickStyle9.xml"/></Relationships>
</file>

<file path=ppt/slides/_rels/slide3.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7.emf"/><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6.xml"/><Relationship Id="rId7" Type="http://schemas.openxmlformats.org/officeDocument/2006/relationships/diagramData" Target="../diagrams/data1.xml"/><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6.xml"/><Relationship Id="rId7" Type="http://schemas.openxmlformats.org/officeDocument/2006/relationships/diagramData" Target="../diagrams/data2.xml"/><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image" Target="../media/image7.emf"/><Relationship Id="rId11" Type="http://schemas.microsoft.com/office/2007/relationships/diagramDrawing" Target="../diagrams/drawing2.xml"/><Relationship Id="rId5" Type="http://schemas.openxmlformats.org/officeDocument/2006/relationships/oleObject" Target="../embeddings/oleObject8.bin"/><Relationship Id="rId10" Type="http://schemas.openxmlformats.org/officeDocument/2006/relationships/diagramColors" Target="../diagrams/colors2.xml"/><Relationship Id="rId4" Type="http://schemas.openxmlformats.org/officeDocument/2006/relationships/notesSlide" Target="../notesSlides/notesSlide5.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6.xml"/><Relationship Id="rId7" Type="http://schemas.openxmlformats.org/officeDocument/2006/relationships/diagramData" Target="../diagrams/data3.xml"/><Relationship Id="rId2" Type="http://schemas.openxmlformats.org/officeDocument/2006/relationships/tags" Target="../tags/tag30.xml"/><Relationship Id="rId1" Type="http://schemas.openxmlformats.org/officeDocument/2006/relationships/vmlDrawing" Target="../drawings/vmlDrawing10.vml"/><Relationship Id="rId6" Type="http://schemas.openxmlformats.org/officeDocument/2006/relationships/image" Target="../media/image7.emf"/><Relationship Id="rId11" Type="http://schemas.microsoft.com/office/2007/relationships/diagramDrawing" Target="../diagrams/drawing3.xml"/><Relationship Id="rId5" Type="http://schemas.openxmlformats.org/officeDocument/2006/relationships/oleObject" Target="../embeddings/oleObject10.bin"/><Relationship Id="rId10" Type="http://schemas.openxmlformats.org/officeDocument/2006/relationships/diagramColors" Target="../diagrams/colors3.xml"/><Relationship Id="rId4" Type="http://schemas.openxmlformats.org/officeDocument/2006/relationships/notesSlide" Target="../notesSlides/notesSlide8.xml"/><Relationship Id="rId9"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4030829" y="2236713"/>
            <a:ext cx="4553330" cy="581134"/>
          </a:xfrm>
        </p:spPr>
        <p:txBody>
          <a:bodyPr>
            <a:normAutofit/>
          </a:bodyPr>
          <a:lstStyle/>
          <a:p>
            <a:r>
              <a:rPr lang="en-US" sz="3200" b="1" dirty="0" smtClean="0">
                <a:solidFill>
                  <a:schemeClr val="bg1"/>
                </a:solidFill>
              </a:rPr>
              <a:t>NO SQL Basics</a:t>
            </a:r>
            <a:endParaRPr lang="en-US" sz="3200" b="1" dirty="0">
              <a:solidFill>
                <a:schemeClr val="bg1"/>
              </a:solidFill>
            </a:endParaRPr>
          </a:p>
        </p:txBody>
      </p:sp>
      <p:sp>
        <p:nvSpPr>
          <p:cNvPr id="5" name="Text Placeholder 3"/>
          <p:cNvSpPr txBox="1">
            <a:spLocks/>
          </p:cNvSpPr>
          <p:nvPr/>
        </p:nvSpPr>
        <p:spPr>
          <a:xfrm>
            <a:off x="4478694" y="3732246"/>
            <a:ext cx="2800486" cy="578498"/>
          </a:xfrm>
          <a:prstGeom prst="rect">
            <a:avLst/>
          </a:prstGeom>
        </p:spPr>
        <p:txBody>
          <a:bodyPr vert="horz" lIns="0" tIns="0" rIns="0" bIns="0" rtlCol="0" anchor="b">
            <a:normAutofit/>
          </a:bodyPr>
          <a:lstStyle>
            <a:lvl1pPr marL="0" indent="0" algn="r" defTabSz="685800" rtl="0" eaLnBrk="1" latinLnBrk="0" hangingPunct="1">
              <a:lnSpc>
                <a:spcPts val="2250"/>
              </a:lnSpc>
              <a:spcBef>
                <a:spcPts val="0"/>
              </a:spcBef>
              <a:spcAft>
                <a:spcPts val="450"/>
              </a:spcAft>
              <a:buFont typeface="Arial" panose="020B0604020202020204" pitchFamily="34" charset="0"/>
              <a:buNone/>
              <a:defRPr sz="1950" kern="1200">
                <a:solidFill>
                  <a:schemeClr val="accent2"/>
                </a:solidFill>
                <a:latin typeface="+mn-lt"/>
                <a:ea typeface="+mn-ea"/>
                <a:cs typeface="+mn-cs"/>
              </a:defRPr>
            </a:lvl1pPr>
            <a:lvl2pPr marL="342900" indent="0" algn="l" defTabSz="685800" rtl="0" eaLnBrk="1" latinLnBrk="0" hangingPunct="1">
              <a:lnSpc>
                <a:spcPct val="100000"/>
              </a:lnSpc>
              <a:spcBef>
                <a:spcPts val="0"/>
              </a:spcBef>
              <a:spcAft>
                <a:spcPts val="450"/>
              </a:spcAft>
              <a:buClr>
                <a:schemeClr val="accent1"/>
              </a:buClr>
              <a:buFont typeface="Wingdings" panose="05000000000000000000" pitchFamily="2" charset="2"/>
              <a:buNone/>
              <a:defRPr sz="4500" kern="1200">
                <a:solidFill>
                  <a:schemeClr val="bg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b="1" dirty="0" smtClean="0">
                <a:solidFill>
                  <a:schemeClr val="bg1"/>
                </a:solidFill>
              </a:rPr>
              <a:t>Lesson 01</a:t>
            </a:r>
            <a:endParaRPr lang="en-US" sz="2000" b="1" dirty="0">
              <a:solidFill>
                <a:schemeClr val="bg1"/>
              </a:solidFill>
            </a:endParaRPr>
          </a:p>
        </p:txBody>
      </p:sp>
    </p:spTree>
    <p:extLst>
      <p:ext uri="{BB962C8B-B14F-4D97-AF65-F5344CB8AC3E}">
        <p14:creationId xmlns:p14="http://schemas.microsoft.com/office/powerpoint/2010/main" val="34219138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27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347730"/>
            <a:ext cx="8915400" cy="632998"/>
          </a:xfrm>
          <a:prstGeom prst="rect">
            <a:avLst/>
          </a:prstGeom>
        </p:spPr>
        <p:txBody>
          <a:bodyPr vert="horz" lIns="297529" tIns="33059" rIns="165294" bIns="33059" rtlCol="0" anchor="ctr">
            <a:normAutofit/>
          </a:bodyPr>
          <a:lstStyle/>
          <a:p>
            <a:pPr defTabSz="914342">
              <a:spcBef>
                <a:spcPct val="0"/>
              </a:spcBef>
            </a:pPr>
            <a:r>
              <a:rPr lang="en-US" sz="3600" dirty="0">
                <a:solidFill>
                  <a:srgbClr val="0094C3"/>
                </a:solidFill>
              </a:rPr>
              <a:t>Why</a:t>
            </a:r>
            <a:r>
              <a:rPr lang="en-US" sz="3600" dirty="0">
                <a:solidFill>
                  <a:srgbClr val="0094C3"/>
                </a:solidFill>
                <a:latin typeface="Arial Narrow" pitchFamily="34" charset="0"/>
              </a:rPr>
              <a:t> </a:t>
            </a:r>
            <a:r>
              <a:rPr lang="en-US" sz="3600" dirty="0" smtClean="0">
                <a:solidFill>
                  <a:srgbClr val="0094C3"/>
                </a:solidFill>
                <a:latin typeface="Arial Narrow" pitchFamily="34" charset="0"/>
              </a:rPr>
              <a:t>NoSQL-</a:t>
            </a:r>
            <a:r>
              <a:rPr lang="en-US" sz="3600" dirty="0" smtClean="0">
                <a:solidFill>
                  <a:srgbClr val="0094C3"/>
                </a:solidFill>
                <a:latin typeface="Arial Narrow" pitchFamily="34" charset="0"/>
              </a:rPr>
              <a:t>Example </a:t>
            </a:r>
            <a:r>
              <a:rPr lang="en-US" sz="3600" dirty="0" smtClean="0">
                <a:solidFill>
                  <a:srgbClr val="0094C3"/>
                </a:solidFill>
                <a:latin typeface="Arial Narrow" pitchFamily="34" charset="0"/>
              </a:rPr>
              <a:t>2</a:t>
            </a:r>
          </a:p>
        </p:txBody>
      </p:sp>
      <p:sp>
        <p:nvSpPr>
          <p:cNvPr id="6" name="Rectangle 5"/>
          <p:cNvSpPr/>
          <p:nvPr/>
        </p:nvSpPr>
        <p:spPr>
          <a:xfrm>
            <a:off x="3741466" y="1171357"/>
            <a:ext cx="2107756" cy="384721"/>
          </a:xfrm>
          <a:prstGeom prst="rect">
            <a:avLst/>
          </a:prstGeom>
        </p:spPr>
        <p:style>
          <a:lnRef idx="1">
            <a:schemeClr val="accent5"/>
          </a:lnRef>
          <a:fillRef idx="3">
            <a:schemeClr val="accent5"/>
          </a:fillRef>
          <a:effectRef idx="2">
            <a:schemeClr val="accent5"/>
          </a:effectRef>
          <a:fontRef idx="minor">
            <a:schemeClr val="lt1"/>
          </a:fontRef>
        </p:style>
        <p:txBody>
          <a:bodyPr wrap="none">
            <a:spAutoFit/>
          </a:bodyPr>
          <a:lstStyle/>
          <a:p>
            <a:pPr algn="ctr"/>
            <a:r>
              <a:rPr lang="en-US" b="1" dirty="0" smtClean="0"/>
              <a:t>Wikipedia Pages</a:t>
            </a:r>
            <a:endParaRPr lang="en-US" b="1" dirty="0"/>
          </a:p>
        </p:txBody>
      </p:sp>
      <p:graphicFrame>
        <p:nvGraphicFramePr>
          <p:cNvPr id="8" name="Diagram 7"/>
          <p:cNvGraphicFramePr/>
          <p:nvPr/>
        </p:nvGraphicFramePr>
        <p:xfrm>
          <a:off x="236482" y="1434663"/>
          <a:ext cx="9285889" cy="47066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37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a:solidFill>
                  <a:srgbClr val="0094C3"/>
                </a:solidFill>
              </a:rPr>
              <a:t>Why</a:t>
            </a:r>
            <a:r>
              <a:rPr lang="en-US" sz="3600" dirty="0">
                <a:solidFill>
                  <a:srgbClr val="0094C3"/>
                </a:solidFill>
                <a:latin typeface="Arial Narrow" pitchFamily="34" charset="0"/>
              </a:rPr>
              <a:t> </a:t>
            </a:r>
            <a:r>
              <a:rPr lang="en-US" sz="3600" dirty="0" smtClean="0">
                <a:solidFill>
                  <a:srgbClr val="0094C3"/>
                </a:solidFill>
                <a:latin typeface="Arial Narrow" pitchFamily="34" charset="0"/>
              </a:rPr>
              <a:t>NoSQL  -  NOSQL Market</a:t>
            </a:r>
          </a:p>
        </p:txBody>
      </p:sp>
      <p:pic>
        <p:nvPicPr>
          <p:cNvPr id="6" name="Content Placeholder 7" descr="pwc-tech-trends-nosql.png_db.png"/>
          <p:cNvPicPr>
            <a:picLocks noGrp="1" noChangeAspect="1"/>
          </p:cNvPicPr>
          <p:nvPr>
            <p:ph sz="quarter" idx="4294967295"/>
          </p:nvPr>
        </p:nvPicPr>
        <p:blipFill>
          <a:blip r:embed="rId7" cstate="print"/>
          <a:srcRect t="1938"/>
          <a:stretch>
            <a:fillRect/>
          </a:stretch>
        </p:blipFill>
        <p:spPr>
          <a:xfrm>
            <a:off x="1250950" y="1214438"/>
            <a:ext cx="8655050" cy="48863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690465" y="1157709"/>
            <a:ext cx="7494588" cy="5037138"/>
          </a:xfrm>
        </p:spPr>
        <p:txBody>
          <a:bodyPr>
            <a:normAutofit/>
          </a:bodyPr>
          <a:lstStyle/>
          <a:p>
            <a:r>
              <a:rPr lang="en-US" dirty="0"/>
              <a:t>1. Not Mature</a:t>
            </a:r>
            <a:br>
              <a:rPr lang="en-US" dirty="0"/>
            </a:br>
            <a:endParaRPr lang="en-US" dirty="0"/>
          </a:p>
          <a:p>
            <a:r>
              <a:rPr lang="en-US" dirty="0"/>
              <a:t>2. Less </a:t>
            </a:r>
            <a:r>
              <a:rPr lang="en-US" dirty="0" smtClean="0"/>
              <a:t>Support</a:t>
            </a:r>
          </a:p>
          <a:p>
            <a:r>
              <a:rPr lang="en-US" dirty="0"/>
              <a:t/>
            </a:r>
            <a:br>
              <a:rPr lang="en-US" dirty="0"/>
            </a:br>
            <a:r>
              <a:rPr lang="en-US" dirty="0" smtClean="0"/>
              <a:t>3</a:t>
            </a:r>
            <a:r>
              <a:rPr lang="en-US" dirty="0"/>
              <a:t>. Business Analytics And Intelligence</a:t>
            </a:r>
            <a:br>
              <a:rPr lang="en-US" dirty="0"/>
            </a:br>
            <a:endParaRPr lang="en-US" dirty="0"/>
          </a:p>
        </p:txBody>
      </p:sp>
      <p:sp>
        <p:nvSpPr>
          <p:cNvPr id="6" name="Title 5"/>
          <p:cNvSpPr>
            <a:spLocks noGrp="1"/>
          </p:cNvSpPr>
          <p:nvPr>
            <p:ph type="title" idx="4294967295"/>
          </p:nvPr>
        </p:nvSpPr>
        <p:spPr>
          <a:xfrm>
            <a:off x="533303" y="408020"/>
            <a:ext cx="9100094" cy="749689"/>
          </a:xfrm>
        </p:spPr>
        <p:txBody>
          <a:bodyPr>
            <a:noAutofit/>
          </a:bodyPr>
          <a:lstStyle/>
          <a:p>
            <a:r>
              <a:rPr lang="en-US" sz="2800" dirty="0"/>
              <a:t>Pros and Cons of NoSQL </a:t>
            </a:r>
            <a:r>
              <a:rPr lang="en-US" sz="2800" dirty="0" smtClean="0"/>
              <a:t>Databases-</a:t>
            </a:r>
            <a:r>
              <a:rPr lang="en-US" sz="2800" dirty="0" smtClean="0"/>
              <a:t>Cons </a:t>
            </a:r>
            <a:r>
              <a:rPr lang="en-US" sz="2800" dirty="0" smtClean="0"/>
              <a:t>Of NoSQL</a:t>
            </a:r>
            <a:endParaRPr lang="en-US" sz="2800" dirty="0"/>
          </a:p>
        </p:txBody>
      </p:sp>
    </p:spTree>
    <p:extLst>
      <p:ext uri="{BB962C8B-B14F-4D97-AF65-F5344CB8AC3E}">
        <p14:creationId xmlns:p14="http://schemas.microsoft.com/office/powerpoint/2010/main" val="24380257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709126" y="419100"/>
            <a:ext cx="8296761" cy="894545"/>
          </a:xfrm>
        </p:spPr>
        <p:txBody>
          <a:bodyPr>
            <a:noAutofit/>
          </a:bodyPr>
          <a:lstStyle/>
          <a:p>
            <a:r>
              <a:rPr lang="en-US" sz="2800" dirty="0"/>
              <a:t>Pros and Cons of NoSQL </a:t>
            </a:r>
            <a:r>
              <a:rPr lang="en-US" sz="2800" dirty="0" smtClean="0"/>
              <a:t>Databases-</a:t>
            </a:r>
            <a:r>
              <a:rPr lang="en-US" sz="2800" dirty="0" smtClean="0"/>
              <a:t>Pros </a:t>
            </a:r>
            <a:r>
              <a:rPr lang="en-US" sz="2800" dirty="0" smtClean="0"/>
              <a:t>Of NoSQL</a:t>
            </a:r>
            <a:endParaRPr lang="en-US" sz="2800" dirty="0"/>
          </a:p>
        </p:txBody>
      </p:sp>
      <p:sp>
        <p:nvSpPr>
          <p:cNvPr id="7" name="Content Placeholder 6"/>
          <p:cNvSpPr>
            <a:spLocks noGrp="1"/>
          </p:cNvSpPr>
          <p:nvPr>
            <p:ph idx="4294967295"/>
          </p:nvPr>
        </p:nvSpPr>
        <p:spPr>
          <a:xfrm>
            <a:off x="323850" y="1026367"/>
            <a:ext cx="7905750" cy="5112496"/>
          </a:xfrm>
        </p:spPr>
        <p:txBody>
          <a:bodyPr>
            <a:normAutofit/>
          </a:bodyPr>
          <a:lstStyle/>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smtClean="0"/>
              <a:t>Flexible Scalability</a:t>
            </a:r>
          </a:p>
          <a:p>
            <a:pPr marL="342900" indent="-342900">
              <a:buClr>
                <a:schemeClr val="tx2"/>
              </a:buClr>
              <a:buFont typeface="Wingdings" panose="05000000000000000000" pitchFamily="2" charset="2"/>
              <a:buChar char="§"/>
            </a:pPr>
            <a:r>
              <a:rPr lang="en-US" dirty="0"/>
              <a:t>Stores Massive Amounts Of </a:t>
            </a:r>
            <a:r>
              <a:rPr lang="en-US" dirty="0" smtClean="0"/>
              <a:t>Data</a:t>
            </a:r>
          </a:p>
          <a:p>
            <a:pPr marL="342900" indent="-342900">
              <a:buClr>
                <a:schemeClr val="tx2"/>
              </a:buClr>
              <a:buFont typeface="Wingdings" panose="05000000000000000000" pitchFamily="2" charset="2"/>
              <a:buChar char="§"/>
            </a:pPr>
            <a:r>
              <a:rPr lang="en-US" dirty="0"/>
              <a:t>Database </a:t>
            </a:r>
            <a:r>
              <a:rPr lang="en-US" dirty="0" smtClean="0"/>
              <a:t>Maintenance</a:t>
            </a:r>
          </a:p>
          <a:p>
            <a:pPr marL="342900" indent="-342900">
              <a:buClr>
                <a:schemeClr val="tx2"/>
              </a:buClr>
              <a:buFont typeface="Wingdings" panose="05000000000000000000" pitchFamily="2" charset="2"/>
              <a:buChar char="§"/>
            </a:pPr>
            <a:r>
              <a:rPr lang="en-US" dirty="0"/>
              <a:t>Economical</a:t>
            </a:r>
            <a:br>
              <a:rPr lang="en-US" dirty="0"/>
            </a:b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20173873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653142" y="447869"/>
            <a:ext cx="8352745" cy="395094"/>
          </a:xfrm>
        </p:spPr>
        <p:txBody>
          <a:bodyPr>
            <a:noAutofit/>
          </a:bodyPr>
          <a:lstStyle/>
          <a:p>
            <a:pPr lvl="0"/>
            <a:r>
              <a:rPr lang="en-US" sz="3200" dirty="0"/>
              <a:t>NoSQL Vs Relational DB</a:t>
            </a:r>
          </a:p>
        </p:txBody>
      </p:sp>
      <p:sp>
        <p:nvSpPr>
          <p:cNvPr id="7" name="Content Placeholder 6"/>
          <p:cNvSpPr>
            <a:spLocks noGrp="1"/>
          </p:cNvSpPr>
          <p:nvPr>
            <p:ph idx="4294967295"/>
          </p:nvPr>
        </p:nvSpPr>
        <p:spPr>
          <a:xfrm>
            <a:off x="323850" y="1495425"/>
            <a:ext cx="8017717" cy="4643438"/>
          </a:xfrm>
        </p:spPr>
        <p:txBody>
          <a:bodyPr>
            <a:normAutofit/>
          </a:bodyPr>
          <a:lstStyle/>
          <a:p>
            <a:endParaRPr lang="en-US" dirty="0" smtClean="0"/>
          </a:p>
          <a:p>
            <a:pPr marL="342900" indent="-342900">
              <a:buFont typeface="Wingdings" panose="05000000000000000000" pitchFamily="2" charset="2"/>
              <a:buChar char="§"/>
            </a:pPr>
            <a:r>
              <a:rPr lang="en-US" dirty="0" smtClean="0"/>
              <a:t>Data models</a:t>
            </a:r>
          </a:p>
          <a:p>
            <a:pPr marL="342900" indent="-342900">
              <a:buFont typeface="Wingdings" panose="05000000000000000000" pitchFamily="2" charset="2"/>
              <a:buChar char="§"/>
            </a:pPr>
            <a:r>
              <a:rPr lang="en-US" dirty="0" smtClean="0"/>
              <a:t>Data structure</a:t>
            </a:r>
          </a:p>
          <a:p>
            <a:pPr marL="342900" indent="-342900">
              <a:buFont typeface="Wingdings" panose="05000000000000000000" pitchFamily="2" charset="2"/>
              <a:buChar char="§"/>
            </a:pPr>
            <a:r>
              <a:rPr lang="en-US" dirty="0" smtClean="0"/>
              <a:t>Scaling</a:t>
            </a:r>
          </a:p>
          <a:p>
            <a:pPr marL="342900" indent="-342900">
              <a:buFont typeface="Wingdings" panose="05000000000000000000" pitchFamily="2" charset="2"/>
              <a:buChar char="§"/>
            </a:pPr>
            <a:r>
              <a:rPr lang="en-US" dirty="0" smtClean="0"/>
              <a:t>Development model</a:t>
            </a:r>
            <a:endParaRPr lang="en-US" dirty="0"/>
          </a:p>
        </p:txBody>
      </p:sp>
    </p:spTree>
    <p:extLst>
      <p:ext uri="{BB962C8B-B14F-4D97-AF65-F5344CB8AC3E}">
        <p14:creationId xmlns:p14="http://schemas.microsoft.com/office/powerpoint/2010/main" val="25194552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656492" y="263770"/>
            <a:ext cx="8229600" cy="804497"/>
          </a:xfrm>
        </p:spPr>
        <p:txBody>
          <a:bodyPr vert="horz" lIns="84406" tIns="42203" rIns="84406" bIns="42203" rtlCol="0" anchor="ctr">
            <a:noAutofit/>
          </a:bodyPr>
          <a:lstStyle/>
          <a:p>
            <a:pPr lvl="1"/>
            <a:r>
              <a:rPr lang="en-US" sz="3200" dirty="0" smtClean="0">
                <a:solidFill>
                  <a:schemeClr val="accent1"/>
                </a:solidFill>
              </a:rPr>
              <a:t>NoSQL </a:t>
            </a:r>
            <a:r>
              <a:rPr lang="en-US" sz="3200" dirty="0">
                <a:solidFill>
                  <a:schemeClr val="accent1"/>
                </a:solidFill>
              </a:rPr>
              <a:t>Vs Relational DB</a:t>
            </a:r>
          </a:p>
        </p:txBody>
      </p:sp>
      <p:sp>
        <p:nvSpPr>
          <p:cNvPr id="45062" name="Footer Placeholder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US" altLang="en-US" dirty="0" smtClean="0">
              <a:latin typeface="Arial" panose="020B0604020202020204" pitchFamily="34" charset="0"/>
            </a:endParaRPr>
          </a:p>
        </p:txBody>
      </p:sp>
      <p:graphicFrame>
        <p:nvGraphicFramePr>
          <p:cNvPr id="3" name="Table 2"/>
          <p:cNvGraphicFramePr>
            <a:graphicFrameLocks noGrp="1"/>
          </p:cNvGraphicFramePr>
          <p:nvPr>
            <p:extLst/>
          </p:nvPr>
        </p:nvGraphicFramePr>
        <p:xfrm>
          <a:off x="1008962" y="1619478"/>
          <a:ext cx="7877130" cy="4153359"/>
        </p:xfrm>
        <a:graphic>
          <a:graphicData uri="http://schemas.openxmlformats.org/drawingml/2006/table">
            <a:tbl>
              <a:tblPr firstRow="1" firstCol="1" bandRow="1">
                <a:tableStyleId>{5C22544A-7EE6-4342-B048-85BDC9FD1C3A}</a:tableStyleId>
              </a:tblPr>
              <a:tblGrid>
                <a:gridCol w="2625710"/>
                <a:gridCol w="2625710"/>
                <a:gridCol w="2625710"/>
              </a:tblGrid>
              <a:tr h="593337">
                <a:tc>
                  <a:txBody>
                    <a:bodyPr/>
                    <a:lstStyle/>
                    <a:p>
                      <a:pPr marL="0" marR="0" algn="ctr">
                        <a:lnSpc>
                          <a:spcPct val="107000"/>
                        </a:lnSpc>
                        <a:spcBef>
                          <a:spcPts val="0"/>
                        </a:spcBef>
                        <a:spcAft>
                          <a:spcPts val="0"/>
                        </a:spcAft>
                      </a:pPr>
                      <a:r>
                        <a:rPr lang="en-US" sz="1050" dirty="0">
                          <a:effectLst/>
                        </a:rPr>
                        <a:t>Featur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NoSQL Databas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Relational Databas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Performan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High</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Low</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Reli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Poo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G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Avail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G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G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Consist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Poo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G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Data Stora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Optimized for huge dat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Medium sized to lar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Scal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High</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High (but more expensiv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bl>
          </a:graphicData>
        </a:graphic>
      </p:graphicFrame>
    </p:spTree>
    <p:extLst>
      <p:ext uri="{BB962C8B-B14F-4D97-AF65-F5344CB8AC3E}">
        <p14:creationId xmlns:p14="http://schemas.microsoft.com/office/powerpoint/2010/main" val="6354402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75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AP Theorem</a:t>
            </a:r>
          </a:p>
        </p:txBody>
      </p:sp>
      <p:graphicFrame>
        <p:nvGraphicFramePr>
          <p:cNvPr id="8" name="Diagram 7"/>
          <p:cNvGraphicFramePr/>
          <p:nvPr/>
        </p:nvGraphicFramePr>
        <p:xfrm>
          <a:off x="283782" y="1527210"/>
          <a:ext cx="9364717"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335618" y="218941"/>
            <a:ext cx="9005370" cy="706889"/>
          </a:xfrm>
        </p:spPr>
        <p:txBody>
          <a:bodyPr vert="horz" lIns="84406" tIns="42203" rIns="84406" bIns="42203" rtlCol="0" anchor="ctr">
            <a:noAutofit/>
          </a:bodyPr>
          <a:lstStyle/>
          <a:p>
            <a:pPr defTabSz="914342"/>
            <a:r>
              <a:rPr lang="en-US" sz="2800" dirty="0"/>
              <a:t>Data store </a:t>
            </a:r>
            <a:r>
              <a:rPr lang="en-US" sz="2800" dirty="0" smtClean="0"/>
              <a:t>types-</a:t>
            </a:r>
            <a:r>
              <a:rPr lang="en-US" sz="2800" dirty="0" smtClean="0">
                <a:latin typeface="Arial Narrow" pitchFamily="34" charset="0"/>
              </a:rPr>
              <a:t>NO </a:t>
            </a:r>
            <a:r>
              <a:rPr lang="en-US" sz="2800" dirty="0">
                <a:latin typeface="Arial Narrow" pitchFamily="34" charset="0"/>
              </a:rPr>
              <a:t>SQL Databases Types</a:t>
            </a:r>
          </a:p>
        </p:txBody>
      </p:sp>
      <p:sp>
        <p:nvSpPr>
          <p:cNvPr id="45059" name="Content Placeholder 2"/>
          <p:cNvSpPr>
            <a:spLocks noGrp="1"/>
          </p:cNvSpPr>
          <p:nvPr>
            <p:ph idx="1"/>
          </p:nvPr>
        </p:nvSpPr>
        <p:spPr/>
        <p:txBody>
          <a:bodyPr/>
          <a:lstStyle/>
          <a:p>
            <a:r>
              <a:rPr lang="en-US" dirty="0"/>
              <a:t>Three Popular NoSQL Design types :</a:t>
            </a:r>
          </a:p>
          <a:p>
            <a:pPr lvl="3"/>
            <a:r>
              <a:rPr lang="en-US" dirty="0"/>
              <a:t>Key / Value Store</a:t>
            </a:r>
          </a:p>
          <a:p>
            <a:pPr lvl="3"/>
            <a:r>
              <a:rPr lang="en-US" dirty="0"/>
              <a:t>Document Database</a:t>
            </a:r>
          </a:p>
          <a:p>
            <a:pPr lvl="3"/>
            <a:r>
              <a:rPr lang="en-US" dirty="0"/>
              <a:t>Graph Database</a:t>
            </a:r>
          </a:p>
          <a:p>
            <a:pPr marL="174625" lvl="1" indent="0">
              <a:buNone/>
            </a:pPr>
            <a:endParaRPr lang="en-US" sz="1600" dirty="0"/>
          </a:p>
          <a:p>
            <a:endParaRPr lang="en-US" dirty="0"/>
          </a:p>
          <a:p>
            <a:pPr>
              <a:buNone/>
            </a:pPr>
            <a:endParaRPr lang="en-US" dirty="0"/>
          </a:p>
          <a:p>
            <a:pPr>
              <a:buNone/>
            </a:pPr>
            <a:endParaRPr lang="en-US" sz="1846" dirty="0"/>
          </a:p>
        </p:txBody>
      </p:sp>
    </p:spTree>
    <p:extLst>
      <p:ext uri="{BB962C8B-B14F-4D97-AF65-F5344CB8AC3E}">
        <p14:creationId xmlns:p14="http://schemas.microsoft.com/office/powerpoint/2010/main" val="6713419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vert="horz" lIns="84406" tIns="42203" rIns="84406" bIns="42203" rtlCol="0" anchor="ctr">
            <a:noAutofit/>
          </a:bodyPr>
          <a:lstStyle/>
          <a:p>
            <a:pPr lvl="1"/>
            <a:r>
              <a:rPr lang="en-US" sz="2400" dirty="0" smtClean="0">
                <a:solidFill>
                  <a:schemeClr val="accent1"/>
                </a:solidFill>
                <a:latin typeface="+mn-lt"/>
              </a:rPr>
              <a:t>NO SQL Databases Types-Key </a:t>
            </a:r>
            <a:r>
              <a:rPr lang="en-US" sz="2400" dirty="0">
                <a:solidFill>
                  <a:schemeClr val="accent1"/>
                </a:solidFill>
                <a:latin typeface="+mn-lt"/>
              </a:rPr>
              <a:t>/ value store type</a:t>
            </a:r>
          </a:p>
        </p:txBody>
      </p:sp>
      <p:sp>
        <p:nvSpPr>
          <p:cNvPr id="45059" name="Content Placeholder 2"/>
          <p:cNvSpPr>
            <a:spLocks noGrp="1"/>
          </p:cNvSpPr>
          <p:nvPr>
            <p:ph sz="quarter" idx="10"/>
          </p:nvPr>
        </p:nvSpPr>
        <p:spPr/>
        <p:txBody>
          <a:bodyPr>
            <a:normAutofit fontScale="92500" lnSpcReduction="10000"/>
          </a:bodyPr>
          <a:lstStyle/>
          <a:p>
            <a:r>
              <a:rPr lang="en-US" dirty="0"/>
              <a:t>Key / Value store databases allow for </a:t>
            </a:r>
          </a:p>
          <a:p>
            <a:pPr>
              <a:buNone/>
            </a:pPr>
            <a:r>
              <a:rPr lang="en-US" dirty="0"/>
              <a:t>   values to be associated with and looked </a:t>
            </a:r>
          </a:p>
          <a:p>
            <a:pPr>
              <a:buNone/>
            </a:pPr>
            <a:r>
              <a:rPr lang="en-US" dirty="0"/>
              <a:t>    up by a key.</a:t>
            </a:r>
          </a:p>
          <a:p>
            <a:pPr>
              <a:buNone/>
            </a:pPr>
            <a:endParaRPr lang="en-US" dirty="0"/>
          </a:p>
          <a:p>
            <a:r>
              <a:rPr lang="en-US" dirty="0"/>
              <a:t>Keys can be associated with more than</a:t>
            </a:r>
          </a:p>
          <a:p>
            <a:pPr>
              <a:buNone/>
            </a:pPr>
            <a:r>
              <a:rPr lang="en-US" dirty="0"/>
              <a:t>   one value.</a:t>
            </a:r>
          </a:p>
          <a:p>
            <a:pPr>
              <a:buNone/>
            </a:pPr>
            <a:endParaRPr lang="en-US" dirty="0"/>
          </a:p>
          <a:p>
            <a:r>
              <a:rPr lang="en-US" dirty="0"/>
              <a:t>Some implementations of the key value store provide caching mechanisms, which greatly enhance their performance.</a:t>
            </a:r>
          </a:p>
          <a:p>
            <a:endParaRPr lang="en-US" dirty="0"/>
          </a:p>
          <a:p>
            <a:r>
              <a:rPr lang="en-US" dirty="0"/>
              <a:t>Data is stored in a form of a string, JSON, or BLOB (Binary Large </a:t>
            </a:r>
            <a:r>
              <a:rPr lang="en-US" dirty="0" smtClean="0"/>
              <a:t>Object).</a:t>
            </a:r>
            <a:endParaRPr lang="en-US" dirty="0"/>
          </a:p>
          <a:p>
            <a:pPr>
              <a:buNone/>
            </a:pPr>
            <a:endParaRPr lang="en-US" dirty="0"/>
          </a:p>
          <a:p>
            <a:r>
              <a:rPr lang="en-US" dirty="0"/>
              <a:t>The most famous NoSQL database that is built on a key value store is Amazon’s </a:t>
            </a:r>
            <a:r>
              <a:rPr lang="en-US" dirty="0" smtClean="0"/>
              <a:t>Dynamo DB.</a:t>
            </a:r>
            <a:endParaRPr lang="en-US" dirty="0"/>
          </a:p>
          <a:p>
            <a:pPr marL="174625" lvl="1" indent="0">
              <a:buNone/>
            </a:pPr>
            <a:endParaRPr lang="en-US" sz="1600" dirty="0"/>
          </a:p>
          <a:p>
            <a:endParaRPr lang="en-US" dirty="0"/>
          </a:p>
          <a:p>
            <a:pPr>
              <a:buNone/>
            </a:pPr>
            <a:endParaRPr lang="en-US" dirty="0"/>
          </a:p>
          <a:p>
            <a:pPr>
              <a:buNone/>
            </a:pPr>
            <a:endParaRPr lang="en-US" sz="1846" dirty="0"/>
          </a:p>
        </p:txBody>
      </p:sp>
      <p:pic>
        <p:nvPicPr>
          <p:cNvPr id="5" name="Picture 4" descr="http://www.ingenioussql.com/wp-content/uploads/2013/02/KeyValueStore.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40533" y="1126104"/>
            <a:ext cx="3171825" cy="195262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52154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69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274320"/>
            <a:ext cx="8915400" cy="706408"/>
          </a:xfrm>
          <a:prstGeom prst="rect">
            <a:avLst/>
          </a:prstGeom>
        </p:spPr>
        <p:txBody>
          <a:bodyPr vert="horz" lIns="297529" tIns="33059" rIns="165294" bIns="33059" rtlCol="0" anchor="ctr">
            <a:noAutofit/>
          </a:bodyPr>
          <a:lstStyle/>
          <a:p>
            <a:pPr defTabSz="914342">
              <a:spcBef>
                <a:spcPct val="0"/>
              </a:spcBef>
            </a:pPr>
            <a:r>
              <a:rPr lang="en-US" sz="2400" dirty="0">
                <a:solidFill>
                  <a:schemeClr val="accent1"/>
                </a:solidFill>
              </a:rPr>
              <a:t>NO SQL Databases Types-Key / value store type</a:t>
            </a:r>
            <a:endParaRPr lang="en-US" sz="2400" dirty="0" smtClean="0">
              <a:solidFill>
                <a:srgbClr val="0094C3"/>
              </a:solidFill>
            </a:endParaRPr>
          </a:p>
        </p:txBody>
      </p:sp>
      <p:pic>
        <p:nvPicPr>
          <p:cNvPr id="6" name="Content Placeholder 10" descr="key-value-store.png"/>
          <p:cNvPicPr>
            <a:picLocks noGrp="1" noChangeAspect="1"/>
          </p:cNvPicPr>
          <p:nvPr>
            <p:ph sz="quarter" idx="4294967295"/>
          </p:nvPr>
        </p:nvPicPr>
        <p:blipFill>
          <a:blip r:embed="rId7" cstate="print"/>
          <a:stretch>
            <a:fillRect/>
          </a:stretch>
        </p:blipFill>
        <p:spPr>
          <a:xfrm>
            <a:off x="1918038" y="2603500"/>
            <a:ext cx="4241800" cy="2890838"/>
          </a:xfrm>
          <a:prstGeom prst="rect">
            <a:avLst/>
          </a:prstGeom>
          <a:ln>
            <a:noFill/>
          </a:ln>
          <a:effectLst>
            <a:outerShdw blurRad="190500" algn="tl" rotWithShape="0">
              <a:srgbClr val="000000">
                <a:alpha val="70000"/>
              </a:srgbClr>
            </a:outerShdw>
          </a:effectLst>
        </p:spPr>
      </p:pic>
      <p:sp>
        <p:nvSpPr>
          <p:cNvPr id="9" name="TextBox 8"/>
          <p:cNvSpPr txBox="1"/>
          <p:nvPr/>
        </p:nvSpPr>
        <p:spPr>
          <a:xfrm>
            <a:off x="2487724" y="1742347"/>
            <a:ext cx="3102428"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Key Value Stores</a:t>
            </a:r>
            <a:endParaRPr lang="en-US" b="1" dirty="0"/>
          </a:p>
        </p:txBody>
      </p:sp>
    </p:spTree>
    <p:extLst>
      <p:ext uri="{BB962C8B-B14F-4D97-AF65-F5344CB8AC3E}">
        <p14:creationId xmlns:p14="http://schemas.microsoft.com/office/powerpoint/2010/main" val="24864025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679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title"/>
            <p:custDataLst>
              <p:tags r:id="rId3"/>
            </p:custDataLst>
          </p:nvPr>
        </p:nvSpPr>
        <p:spPr/>
        <p:txBody>
          <a:bodyPr>
            <a:noAutofit/>
          </a:bodyPr>
          <a:lstStyle/>
          <a:p>
            <a:r>
              <a:rPr lang="en-US" sz="3200" dirty="0" smtClean="0"/>
              <a:t>Evaluation Of NoSQL</a:t>
            </a:r>
            <a:endParaRPr lang="en-US" sz="3200" dirty="0"/>
          </a:p>
        </p:txBody>
      </p:sp>
      <p:sp>
        <p:nvSpPr>
          <p:cNvPr id="2" name="Content Placeholder 1"/>
          <p:cNvSpPr>
            <a:spLocks noGrp="1"/>
          </p:cNvSpPr>
          <p:nvPr>
            <p:ph idx="1"/>
          </p:nvPr>
        </p:nvSpPr>
        <p:spPr>
          <a:xfrm>
            <a:off x="323392" y="1007707"/>
            <a:ext cx="9582608" cy="5130812"/>
          </a:xfrm>
        </p:spPr>
        <p:txBody>
          <a:bodyPr/>
          <a:lstStyle/>
          <a:p>
            <a:r>
              <a:rPr lang="en-US" dirty="0"/>
              <a:t>Many enterprises are making the switch from decades old relational technology to NoSQL. </a:t>
            </a:r>
          </a:p>
          <a:p>
            <a:r>
              <a:rPr lang="en-US" dirty="0"/>
              <a:t>NoSQL technology is much better suited to address the demands of Big Data </a:t>
            </a:r>
            <a:r>
              <a:rPr lang="en-US" dirty="0" smtClean="0"/>
              <a:t>applications.</a:t>
            </a:r>
            <a:endParaRPr lang="en-US" dirty="0"/>
          </a:p>
          <a:p>
            <a:r>
              <a:rPr lang="en-US" dirty="0" smtClean="0"/>
              <a:t>But </a:t>
            </a:r>
            <a:r>
              <a:rPr lang="en-US" dirty="0"/>
              <a:t>the process of NoSQL database evaluation can be tricky and confusing</a:t>
            </a:r>
            <a:r>
              <a:rPr lang="en-US" dirty="0" smtClean="0"/>
              <a:t>.</a:t>
            </a:r>
          </a:p>
          <a:p>
            <a:r>
              <a:rPr lang="en-US" dirty="0"/>
              <a:t>The term “NoSQL” itself is too broad and meant to encapsulate any database that does not follow the relational model. </a:t>
            </a:r>
            <a:endParaRPr lang="en-US" dirty="0" smtClean="0"/>
          </a:p>
          <a:p>
            <a:r>
              <a:rPr lang="en-US" dirty="0" smtClean="0"/>
              <a:t>There </a:t>
            </a:r>
            <a:r>
              <a:rPr lang="en-US" dirty="0"/>
              <a:t>are several categories of NoSQL databases and within each category there are several </a:t>
            </a:r>
            <a:r>
              <a:rPr lang="en-US" dirty="0" smtClean="0"/>
              <a:t>options</a:t>
            </a:r>
          </a:p>
          <a:p>
            <a:r>
              <a:rPr lang="en-US" dirty="0" smtClean="0"/>
              <a:t>It’s </a:t>
            </a:r>
            <a:r>
              <a:rPr lang="en-US" dirty="0"/>
              <a:t>hard to discern which among those are the best fit for your application requirements and allow for future support and growth within your enterprise.</a:t>
            </a:r>
          </a:p>
          <a:p>
            <a:endParaRPr lang="en-US" dirty="0"/>
          </a:p>
          <a:p>
            <a:endParaRPr lang="en-US" dirty="0"/>
          </a:p>
        </p:txBody>
      </p:sp>
    </p:spTree>
    <p:extLst>
      <p:ext uri="{BB962C8B-B14F-4D97-AF65-F5344CB8AC3E}">
        <p14:creationId xmlns:p14="http://schemas.microsoft.com/office/powerpoint/2010/main" val="210978544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vert="horz" lIns="84406" tIns="42203" rIns="84406" bIns="42203" rtlCol="0" anchor="ctr">
            <a:noAutofit/>
          </a:bodyPr>
          <a:lstStyle/>
          <a:p>
            <a:pPr lvl="1"/>
            <a:r>
              <a:rPr lang="en-US" sz="2400" dirty="0" smtClean="0">
                <a:solidFill>
                  <a:schemeClr val="accent1"/>
                </a:solidFill>
                <a:latin typeface="+mn-lt"/>
              </a:rPr>
              <a:t>NO </a:t>
            </a:r>
            <a:r>
              <a:rPr lang="en-US" sz="2400" dirty="0">
                <a:solidFill>
                  <a:schemeClr val="accent1"/>
                </a:solidFill>
                <a:latin typeface="+mn-lt"/>
              </a:rPr>
              <a:t>SQL Databases </a:t>
            </a:r>
            <a:r>
              <a:rPr lang="en-US" sz="2400" dirty="0" smtClean="0">
                <a:solidFill>
                  <a:schemeClr val="accent1"/>
                </a:solidFill>
                <a:latin typeface="+mn-lt"/>
              </a:rPr>
              <a:t>Types-Document </a:t>
            </a:r>
            <a:r>
              <a:rPr lang="en-US" sz="2400" dirty="0">
                <a:solidFill>
                  <a:schemeClr val="accent1"/>
                </a:solidFill>
                <a:latin typeface="+mn-lt"/>
              </a:rPr>
              <a:t>data </a:t>
            </a:r>
            <a:r>
              <a:rPr lang="en-US" sz="2400" dirty="0" smtClean="0">
                <a:solidFill>
                  <a:schemeClr val="accent1"/>
                </a:solidFill>
                <a:latin typeface="+mn-lt"/>
              </a:rPr>
              <a:t>store</a:t>
            </a:r>
            <a:endParaRPr lang="en-US" sz="2400" dirty="0">
              <a:solidFill>
                <a:schemeClr val="accent1"/>
              </a:solidFill>
              <a:latin typeface="+mn-lt"/>
            </a:endParaRPr>
          </a:p>
        </p:txBody>
      </p:sp>
      <p:sp>
        <p:nvSpPr>
          <p:cNvPr id="45059" name="Content Placeholder 2"/>
          <p:cNvSpPr>
            <a:spLocks noGrp="1"/>
          </p:cNvSpPr>
          <p:nvPr>
            <p:ph idx="1"/>
          </p:nvPr>
        </p:nvSpPr>
        <p:spPr/>
        <p:txBody>
          <a:bodyPr/>
          <a:lstStyle/>
          <a:p>
            <a:r>
              <a:rPr lang="en-US" dirty="0"/>
              <a:t>Document databases store information in documents such as JSON or XML.</a:t>
            </a:r>
          </a:p>
          <a:p>
            <a:pPr>
              <a:buNone/>
            </a:pPr>
            <a:endParaRPr lang="en-US" dirty="0"/>
          </a:p>
          <a:p>
            <a:r>
              <a:rPr lang="en-US" dirty="0"/>
              <a:t>A collection of documents</a:t>
            </a:r>
          </a:p>
          <a:p>
            <a:pPr>
              <a:buNone/>
            </a:pPr>
            <a:endParaRPr lang="en-US" dirty="0"/>
          </a:p>
          <a:p>
            <a:r>
              <a:rPr lang="en-US" dirty="0"/>
              <a:t>Data in this model is stored inside documents.</a:t>
            </a:r>
          </a:p>
          <a:p>
            <a:pPr>
              <a:buNone/>
            </a:pPr>
            <a:endParaRPr lang="en-US" dirty="0"/>
          </a:p>
          <a:p>
            <a:r>
              <a:rPr lang="en-US" dirty="0"/>
              <a:t>A document is a key value collection where the key allows access to its value.</a:t>
            </a:r>
          </a:p>
          <a:p>
            <a:pPr>
              <a:buNone/>
            </a:pPr>
            <a:endParaRPr lang="en-US" dirty="0"/>
          </a:p>
          <a:p>
            <a:r>
              <a:rPr lang="en-US" dirty="0"/>
              <a:t>Documents are not typically forced to have a schema and therefore are flexible and easy to change..</a:t>
            </a:r>
          </a:p>
          <a:p>
            <a:pPr marL="174625" lvl="1" indent="0">
              <a:buNone/>
            </a:pPr>
            <a:endParaRPr lang="en-US" sz="1600" dirty="0"/>
          </a:p>
          <a:p>
            <a:endParaRPr lang="en-US" dirty="0"/>
          </a:p>
          <a:p>
            <a:pPr>
              <a:buNone/>
            </a:pPr>
            <a:endParaRPr lang="en-US" dirty="0"/>
          </a:p>
          <a:p>
            <a:pPr>
              <a:buNone/>
            </a:pPr>
            <a:endParaRPr lang="en-US" sz="1846" dirty="0"/>
          </a:p>
        </p:txBody>
      </p:sp>
    </p:spTree>
    <p:extLst>
      <p:ext uri="{BB962C8B-B14F-4D97-AF65-F5344CB8AC3E}">
        <p14:creationId xmlns:p14="http://schemas.microsoft.com/office/powerpoint/2010/main" val="17997954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vert="horz" lIns="84406" tIns="42203" rIns="84406" bIns="42203" rtlCol="0" anchor="ctr">
            <a:noAutofit/>
          </a:bodyPr>
          <a:lstStyle/>
          <a:p>
            <a:pPr lvl="1"/>
            <a:r>
              <a:rPr lang="en-US" sz="2800" dirty="0">
                <a:solidFill>
                  <a:schemeClr val="accent1"/>
                </a:solidFill>
              </a:rPr>
              <a:t>NO SQL Databases </a:t>
            </a:r>
            <a:r>
              <a:rPr lang="en-US" sz="2800" dirty="0">
                <a:solidFill>
                  <a:schemeClr val="accent1"/>
                </a:solidFill>
                <a:latin typeface="+mn-lt"/>
              </a:rPr>
              <a:t>Types-Document</a:t>
            </a:r>
            <a:r>
              <a:rPr lang="en-US" sz="2800" dirty="0">
                <a:solidFill>
                  <a:schemeClr val="accent1"/>
                </a:solidFill>
              </a:rPr>
              <a:t> data store</a:t>
            </a:r>
            <a:endParaRPr lang="en-US" sz="2800" dirty="0"/>
          </a:p>
        </p:txBody>
      </p:sp>
      <p:sp>
        <p:nvSpPr>
          <p:cNvPr id="45059" name="Content Placeholder 2"/>
          <p:cNvSpPr>
            <a:spLocks noGrp="1"/>
          </p:cNvSpPr>
          <p:nvPr>
            <p:ph idx="1"/>
          </p:nvPr>
        </p:nvSpPr>
        <p:spPr/>
        <p:txBody>
          <a:bodyPr/>
          <a:lstStyle/>
          <a:p>
            <a:pPr>
              <a:buNone/>
            </a:pPr>
            <a:endParaRPr lang="en-US" dirty="0"/>
          </a:p>
          <a:p>
            <a:r>
              <a:rPr lang="en-US" dirty="0"/>
              <a:t>Documents can contain many different key-value pairs, or key-array pairs, or even nested documents.</a:t>
            </a:r>
          </a:p>
          <a:p>
            <a:pPr>
              <a:buNone/>
            </a:pPr>
            <a:endParaRPr lang="en-US" dirty="0"/>
          </a:p>
          <a:p>
            <a:r>
              <a:rPr lang="en-US" b="1" dirty="0"/>
              <a:t>Example of Document Oriented databases : </a:t>
            </a:r>
            <a:r>
              <a:rPr lang="en-US" dirty="0"/>
              <a:t>MongoDB, </a:t>
            </a:r>
            <a:r>
              <a:rPr lang="en-US" dirty="0" err="1"/>
              <a:t>CouchDB</a:t>
            </a:r>
            <a:r>
              <a:rPr lang="en-US" dirty="0"/>
              <a:t> </a:t>
            </a:r>
            <a:r>
              <a:rPr lang="en-US" dirty="0" smtClean="0"/>
              <a:t>etc.</a:t>
            </a:r>
            <a:endParaRPr lang="en-US" dirty="0"/>
          </a:p>
          <a:p>
            <a:pPr>
              <a:buNone/>
            </a:pPr>
            <a:r>
              <a:rPr lang="en-US" dirty="0"/>
              <a:t>.</a:t>
            </a:r>
          </a:p>
          <a:p>
            <a:pPr marL="174625" lvl="1" indent="0">
              <a:buNone/>
            </a:pPr>
            <a:endParaRPr lang="en-US" sz="1600" dirty="0"/>
          </a:p>
          <a:p>
            <a:endParaRPr lang="en-US" dirty="0"/>
          </a:p>
          <a:p>
            <a:pPr>
              <a:buNone/>
            </a:pPr>
            <a:endParaRPr lang="en-US" dirty="0"/>
          </a:p>
          <a:p>
            <a:pPr>
              <a:buNone/>
            </a:pPr>
            <a:endParaRPr lang="en-US" sz="1846" dirty="0"/>
          </a:p>
        </p:txBody>
      </p:sp>
    </p:spTree>
    <p:extLst>
      <p:ext uri="{BB962C8B-B14F-4D97-AF65-F5344CB8AC3E}">
        <p14:creationId xmlns:p14="http://schemas.microsoft.com/office/powerpoint/2010/main" val="14433878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656492" y="548640"/>
            <a:ext cx="8229600" cy="519627"/>
          </a:xfrm>
        </p:spPr>
        <p:txBody>
          <a:bodyPr vert="horz" lIns="84406" tIns="42203" rIns="84406" bIns="42203" rtlCol="0" anchor="ctr">
            <a:noAutofit/>
          </a:bodyPr>
          <a:lstStyle/>
          <a:p>
            <a:pPr lvl="1"/>
            <a:r>
              <a:rPr lang="en-US" sz="2800" dirty="0" smtClean="0">
                <a:solidFill>
                  <a:schemeClr val="accent1"/>
                </a:solidFill>
              </a:rPr>
              <a:t>NO SQL Databases Types-Document data store</a:t>
            </a:r>
            <a:endParaRPr lang="en-US" sz="2800" dirty="0"/>
          </a:p>
        </p:txBody>
      </p:sp>
      <p:sp>
        <p:nvSpPr>
          <p:cNvPr id="45059" name="Content Placeholder 2"/>
          <p:cNvSpPr>
            <a:spLocks noGrp="1"/>
          </p:cNvSpPr>
          <p:nvPr>
            <p:ph idx="1"/>
          </p:nvPr>
        </p:nvSpPr>
        <p:spPr>
          <a:xfrm>
            <a:off x="1154723" y="1312985"/>
            <a:ext cx="7596554" cy="4437820"/>
          </a:xfrm>
        </p:spPr>
        <p:txBody>
          <a:bodyPr/>
          <a:lstStyle/>
          <a:p>
            <a:pPr marL="174625" lvl="1" indent="0">
              <a:buNone/>
            </a:pPr>
            <a:endParaRPr lang="en-US" sz="1600" dirty="0"/>
          </a:p>
          <a:p>
            <a:endParaRPr lang="en-US" dirty="0"/>
          </a:p>
          <a:p>
            <a:pPr>
              <a:buNone/>
            </a:pPr>
            <a:endParaRPr lang="en-US" dirty="0"/>
          </a:p>
          <a:p>
            <a:pPr>
              <a:buNone/>
            </a:pPr>
            <a:endParaRPr lang="en-US" sz="1846" dirty="0"/>
          </a:p>
        </p:txBody>
      </p:sp>
      <p:sp>
        <p:nvSpPr>
          <p:cNvPr id="45062" name="Footer Placeholder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US" altLang="en-US" dirty="0" smtClean="0">
              <a:latin typeface="Arial" panose="020B0604020202020204" pitchFamily="34" charset="0"/>
            </a:endParaRPr>
          </a:p>
        </p:txBody>
      </p:sp>
      <p:pic>
        <p:nvPicPr>
          <p:cNvPr id="5" name="Picture 4" descr="document oriented database"/>
          <p:cNvPicPr/>
          <p:nvPr/>
        </p:nvPicPr>
        <p:blipFill>
          <a:blip r:embed="rId3">
            <a:extLst>
              <a:ext uri="{28A0092B-C50C-407E-A947-70E740481C1C}">
                <a14:useLocalDpi xmlns:a14="http://schemas.microsoft.com/office/drawing/2010/main" val="0"/>
              </a:ext>
            </a:extLst>
          </a:blip>
          <a:srcRect/>
          <a:stretch>
            <a:fillRect/>
          </a:stretch>
        </p:blipFill>
        <p:spPr bwMode="auto">
          <a:xfrm>
            <a:off x="1154723" y="1401128"/>
            <a:ext cx="7596554" cy="4514931"/>
          </a:xfrm>
          <a:prstGeom prst="rect">
            <a:avLst/>
          </a:prstGeom>
          <a:noFill/>
          <a:ln>
            <a:noFill/>
          </a:ln>
        </p:spPr>
      </p:pic>
    </p:spTree>
    <p:extLst>
      <p:ext uri="{BB962C8B-B14F-4D97-AF65-F5344CB8AC3E}">
        <p14:creationId xmlns:p14="http://schemas.microsoft.com/office/powerpoint/2010/main" val="19171904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800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342900"/>
            <a:ext cx="8915400" cy="637828"/>
          </a:xfrm>
          <a:prstGeom prst="rect">
            <a:avLst/>
          </a:prstGeom>
        </p:spPr>
        <p:txBody>
          <a:bodyPr vert="horz" lIns="297529" tIns="33059" rIns="165294" bIns="33059" rtlCol="0" anchor="ctr">
            <a:normAutofit fontScale="70000" lnSpcReduction="20000"/>
          </a:bodyPr>
          <a:lstStyle/>
          <a:p>
            <a:pPr defTabSz="914342">
              <a:spcBef>
                <a:spcPct val="0"/>
              </a:spcBef>
            </a:pPr>
            <a:r>
              <a:rPr lang="en-US" sz="3600" dirty="0">
                <a:solidFill>
                  <a:schemeClr val="accent1"/>
                </a:solidFill>
              </a:rPr>
              <a:t>NO SQL Databases Types-Document data store</a:t>
            </a:r>
            <a:endParaRPr lang="en-US" sz="3600" dirty="0">
              <a:solidFill>
                <a:srgbClr val="0094C3"/>
              </a:solidFill>
            </a:endParaRPr>
          </a:p>
        </p:txBody>
      </p:sp>
      <p:pic>
        <p:nvPicPr>
          <p:cNvPr id="8" name="Content Placeholder 7" descr="document-value-store.png"/>
          <p:cNvPicPr>
            <a:picLocks noGrp="1" noChangeAspect="1"/>
          </p:cNvPicPr>
          <p:nvPr>
            <p:ph sz="half" idx="4294967295"/>
          </p:nvPr>
        </p:nvPicPr>
        <p:blipFill>
          <a:blip r:embed="rId7" cstate="print"/>
          <a:stretch>
            <a:fillRect/>
          </a:stretch>
        </p:blipFill>
        <p:spPr>
          <a:xfrm>
            <a:off x="2842512" y="2374899"/>
            <a:ext cx="4243387" cy="2895600"/>
          </a:xfrm>
          <a:prstGeom prst="rect">
            <a:avLst/>
          </a:prstGeom>
        </p:spPr>
      </p:pic>
      <p:sp>
        <p:nvSpPr>
          <p:cNvPr id="10" name="TextBox 9"/>
          <p:cNvSpPr txBox="1"/>
          <p:nvPr/>
        </p:nvSpPr>
        <p:spPr>
          <a:xfrm>
            <a:off x="3396589" y="1485453"/>
            <a:ext cx="2917371"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Document Store</a:t>
            </a:r>
            <a:endParaRPr lang="en-US" b="1" dirty="0"/>
          </a:p>
        </p:txBody>
      </p:sp>
    </p:spTree>
    <p:extLst>
      <p:ext uri="{BB962C8B-B14F-4D97-AF65-F5344CB8AC3E}">
        <p14:creationId xmlns:p14="http://schemas.microsoft.com/office/powerpoint/2010/main" val="29888380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335618" y="418453"/>
            <a:ext cx="9005370" cy="644537"/>
          </a:xfrm>
        </p:spPr>
        <p:txBody>
          <a:bodyPr vert="horz" lIns="84406" tIns="42203" rIns="84406" bIns="42203" rtlCol="0" anchor="ctr">
            <a:noAutofit/>
          </a:bodyPr>
          <a:lstStyle/>
          <a:p>
            <a:pPr lvl="1"/>
            <a:r>
              <a:rPr lang="en-US" sz="2800" dirty="0" smtClean="0">
                <a:solidFill>
                  <a:schemeClr val="accent1"/>
                </a:solidFill>
                <a:latin typeface="+mn-lt"/>
              </a:rPr>
              <a:t>NO SQL Databases Types-Graph </a:t>
            </a:r>
            <a:r>
              <a:rPr lang="en-US" sz="2800" dirty="0">
                <a:solidFill>
                  <a:schemeClr val="accent1"/>
                </a:solidFill>
                <a:latin typeface="+mn-lt"/>
              </a:rPr>
              <a:t>data store type</a:t>
            </a:r>
          </a:p>
        </p:txBody>
      </p:sp>
      <p:sp>
        <p:nvSpPr>
          <p:cNvPr id="45059" name="Content Placeholder 2"/>
          <p:cNvSpPr>
            <a:spLocks noGrp="1"/>
          </p:cNvSpPr>
          <p:nvPr>
            <p:ph idx="1"/>
          </p:nvPr>
        </p:nvSpPr>
        <p:spPr>
          <a:xfrm>
            <a:off x="323392" y="1348740"/>
            <a:ext cx="9582608" cy="4789778"/>
          </a:xfrm>
        </p:spPr>
        <p:txBody>
          <a:bodyPr/>
          <a:lstStyle/>
          <a:p>
            <a:r>
              <a:rPr lang="en-US" dirty="0"/>
              <a:t>Graph databases store all of their information in nodes (vertices) and edges.</a:t>
            </a:r>
          </a:p>
          <a:p>
            <a:r>
              <a:rPr lang="en-US" dirty="0"/>
              <a:t>Each node represents an entity (such as a student or business) and each edge represents a connection or relationship between two nodes.</a:t>
            </a:r>
          </a:p>
          <a:p>
            <a:r>
              <a:rPr lang="en-US" dirty="0"/>
              <a:t>Relationship information about </a:t>
            </a:r>
          </a:p>
          <a:p>
            <a:pPr>
              <a:buNone/>
            </a:pPr>
            <a:r>
              <a:rPr lang="en-US" dirty="0"/>
              <a:t>   nodes is stored in the edges.</a:t>
            </a:r>
          </a:p>
          <a:p>
            <a:r>
              <a:rPr lang="en-US" dirty="0"/>
              <a:t>Graph traversal is how you “query”</a:t>
            </a:r>
          </a:p>
          <a:p>
            <a:pPr>
              <a:buNone/>
            </a:pPr>
            <a:r>
              <a:rPr lang="en-US" dirty="0"/>
              <a:t>   the database.</a:t>
            </a:r>
          </a:p>
          <a:p>
            <a:r>
              <a:rPr lang="en-US" dirty="0"/>
              <a:t>Example of Graph databases : </a:t>
            </a:r>
            <a:r>
              <a:rPr lang="en-US" dirty="0"/>
              <a:t>OrientDB</a:t>
            </a:r>
            <a:endParaRPr lang="en-US" dirty="0"/>
          </a:p>
          <a:p>
            <a:endParaRPr lang="en-US" dirty="0"/>
          </a:p>
          <a:p>
            <a:pPr lvl="1"/>
            <a:endParaRPr lang="en-US" sz="1600" dirty="0"/>
          </a:p>
          <a:p>
            <a:endParaRPr lang="en-US" dirty="0"/>
          </a:p>
          <a:p>
            <a:pPr>
              <a:buNone/>
            </a:pPr>
            <a:endParaRPr lang="en-US" dirty="0"/>
          </a:p>
          <a:p>
            <a:pPr>
              <a:buNone/>
            </a:pPr>
            <a:endParaRPr lang="en-US" sz="1846" dirty="0"/>
          </a:p>
        </p:txBody>
      </p:sp>
      <p:pic>
        <p:nvPicPr>
          <p:cNvPr id="6" name="Picture 5" descr="graph verticles edeges"/>
          <p:cNvPicPr/>
          <p:nvPr/>
        </p:nvPicPr>
        <p:blipFill>
          <a:blip r:embed="rId3">
            <a:extLst>
              <a:ext uri="{28A0092B-C50C-407E-A947-70E740481C1C}">
                <a14:useLocalDpi xmlns:a14="http://schemas.microsoft.com/office/drawing/2010/main" val="0"/>
              </a:ext>
            </a:extLst>
          </a:blip>
          <a:srcRect/>
          <a:stretch>
            <a:fillRect/>
          </a:stretch>
        </p:blipFill>
        <p:spPr bwMode="auto">
          <a:xfrm>
            <a:off x="5372139" y="2543099"/>
            <a:ext cx="4273550" cy="2520950"/>
          </a:xfrm>
          <a:prstGeom prst="rect">
            <a:avLst/>
          </a:prstGeom>
          <a:noFill/>
          <a:ln>
            <a:noFill/>
          </a:ln>
        </p:spPr>
      </p:pic>
    </p:spTree>
    <p:extLst>
      <p:ext uri="{BB962C8B-B14F-4D97-AF65-F5344CB8AC3E}">
        <p14:creationId xmlns:p14="http://schemas.microsoft.com/office/powerpoint/2010/main" val="175289640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59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605790"/>
            <a:ext cx="8915400" cy="374938"/>
          </a:xfrm>
          <a:prstGeom prst="rect">
            <a:avLst/>
          </a:prstGeom>
        </p:spPr>
        <p:txBody>
          <a:bodyPr vert="horz" lIns="297529" tIns="33059" rIns="165294" bIns="33059" rtlCol="0" anchor="ctr">
            <a:noAutofit/>
          </a:bodyPr>
          <a:lstStyle/>
          <a:p>
            <a:pPr defTabSz="914342">
              <a:spcBef>
                <a:spcPct val="0"/>
              </a:spcBef>
            </a:pPr>
            <a:r>
              <a:rPr lang="en-US" sz="2800" dirty="0">
                <a:solidFill>
                  <a:schemeClr val="accent1"/>
                </a:solidFill>
              </a:rPr>
              <a:t>NO SQL Databases Types-Graph data store type</a:t>
            </a:r>
            <a:endParaRPr lang="en-US" sz="2800" dirty="0" smtClean="0">
              <a:solidFill>
                <a:srgbClr val="0094C3"/>
              </a:solidFill>
            </a:endParaRPr>
          </a:p>
        </p:txBody>
      </p:sp>
      <p:pic>
        <p:nvPicPr>
          <p:cNvPr id="8" name="Content Placeholder 11" descr="graph-database.png"/>
          <p:cNvPicPr>
            <a:picLocks noGrp="1" noChangeAspect="1"/>
          </p:cNvPicPr>
          <p:nvPr>
            <p:ph sz="half" idx="4294967295"/>
          </p:nvPr>
        </p:nvPicPr>
        <p:blipFill>
          <a:blip r:embed="rId7" cstate="print"/>
          <a:stretch>
            <a:fillRect/>
          </a:stretch>
        </p:blipFill>
        <p:spPr>
          <a:xfrm>
            <a:off x="2713673" y="2690495"/>
            <a:ext cx="4243387" cy="2897188"/>
          </a:xfrm>
          <a:prstGeom prst="rect">
            <a:avLst/>
          </a:prstGeom>
          <a:ln>
            <a:noFill/>
          </a:ln>
          <a:effectLst>
            <a:outerShdw blurRad="190500" algn="tl" rotWithShape="0">
              <a:srgbClr val="000000">
                <a:alpha val="70000"/>
              </a:srgbClr>
            </a:outerShdw>
          </a:effectLst>
        </p:spPr>
      </p:pic>
      <p:sp>
        <p:nvSpPr>
          <p:cNvPr id="10" name="TextBox 9"/>
          <p:cNvSpPr txBox="1"/>
          <p:nvPr/>
        </p:nvSpPr>
        <p:spPr>
          <a:xfrm>
            <a:off x="3000875" y="1689532"/>
            <a:ext cx="2917371"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Graph Database</a:t>
            </a:r>
            <a:endParaRPr lang="en-US" b="1" dirty="0"/>
          </a:p>
        </p:txBody>
      </p:sp>
    </p:spTree>
    <p:extLst>
      <p:ext uri="{BB962C8B-B14F-4D97-AF65-F5344CB8AC3E}">
        <p14:creationId xmlns:p14="http://schemas.microsoft.com/office/powerpoint/2010/main" val="21360154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00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296214"/>
            <a:ext cx="8915400" cy="684514"/>
          </a:xfrm>
          <a:prstGeom prst="rect">
            <a:avLst/>
          </a:prstGeom>
        </p:spPr>
        <p:txBody>
          <a:bodyPr vert="horz" lIns="297529" tIns="33059" rIns="165294" bIns="33059" rtlCol="0" anchor="ctr">
            <a:normAutofit/>
          </a:bodyPr>
          <a:lstStyle/>
          <a:p>
            <a:pPr lvl="0"/>
            <a:r>
              <a:rPr lang="en-US" sz="2800" dirty="0">
                <a:solidFill>
                  <a:schemeClr val="tx2"/>
                </a:solidFill>
              </a:rPr>
              <a:t>Different NoSQL DBMS</a:t>
            </a:r>
          </a:p>
        </p:txBody>
      </p:sp>
      <p:graphicFrame>
        <p:nvGraphicFramePr>
          <p:cNvPr id="7" name="Diagram 6"/>
          <p:cNvGraphicFramePr/>
          <p:nvPr/>
        </p:nvGraphicFramePr>
        <p:xfrm>
          <a:off x="405525" y="1542976"/>
          <a:ext cx="2857938"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nvGraphicFramePr>
        <p:xfrm>
          <a:off x="3484180" y="1340067"/>
          <a:ext cx="6101255" cy="469812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6" name="Content Placeholder 5"/>
          <p:cNvSpPr>
            <a:spLocks noGrp="1"/>
          </p:cNvSpPr>
          <p:nvPr>
            <p:ph idx="1"/>
          </p:nvPr>
        </p:nvSpPr>
        <p:spPr/>
        <p:txBody>
          <a:bodyPr/>
          <a:lstStyle/>
          <a:p>
            <a:endParaRPr lang="en-US" dirty="0"/>
          </a:p>
        </p:txBody>
      </p:sp>
    </p:spTree>
    <p:extLst>
      <p:ext uri="{BB962C8B-B14F-4D97-AF65-F5344CB8AC3E}">
        <p14:creationId xmlns:p14="http://schemas.microsoft.com/office/powerpoint/2010/main" val="28085003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08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Production Deployment</a:t>
            </a:r>
          </a:p>
        </p:txBody>
      </p:sp>
      <p:graphicFrame>
        <p:nvGraphicFramePr>
          <p:cNvPr id="8" name="Diagram 7"/>
          <p:cNvGraphicFramePr/>
          <p:nvPr/>
        </p:nvGraphicFramePr>
        <p:xfrm>
          <a:off x="1351454" y="1182414"/>
          <a:ext cx="7540298" cy="493460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60806" name="AutoShape 6" descr="data:image/png;base64,iVBORw0KGgoAAAANSUhEUgAAAKAAAACgCAMAAAC8EZcfAAAA8FBMVEU3ZaP///82ZKI1Y6E+bKr9//41ZaAvXaM4YqeltMn//vubrMg0ZZra2+0tYp7//f7///Y5ZKXf5vNlfrJadKwrX6A6Y5nx8PWXocYwYqhgfqdBbqkzZZ/6+/////NFZqG1w9pZh8MtW6Tq9/oyZ5dyibQ3YKgwa6QoY429ze41W5N5pc1lf7BifrhMa6ZnhrLb2eNmfapkhKbb5u7Q2e+ao7ny7+9AbK7H3uamtM2lsNAuWag1U6W+4udUcpxaebV+kLDM1eTh6/p9l8MgVJGhoay2v92/yuGXpMIsU5uwxtnG2PGfrtjq9/tAaLhzgqge5T1kAAAGvUlEQVR4nO3dfVfaOhgA8LQhoYTeNgECoi0qAk7U7Sq4Tb1j4ry+bMN9/29zn7Rsh2JU7l2BnHPzHOUPrPA7SZo+SSFBhLf45OPh7paKghGRUHYPP06ARhBj8bDblxhT6lLXiAAIxbjf7w5jxlArPqgWLz31FEbrpqWBsCou77JYPYg54sNqsO/CU9hNHk2IVIL2g+qQo0m3uPWmQ5GLEFo37GcAxUW082a/2N1Dn/qXoiM9FwkArrty0wCgQK6HO/Kx/wkdYk8WPNCB2hSgqk0kvILw8CHaxRQn9WtguBTvoi2M8Loh+hBwLuMttEWhRI0kYtXZADBtkwYGuLACYiOLLw2sqlhBsYlniVIBsJD2LevWPI20xylY4H8OC/zdsMD596NwXQgCCtcFkUaaGfQ8FYCAhECuDwgJu+rYRKILIkpp5KbMju93Op0Irhu4UFgnkELGKWgU+VE9UkGVUj0tBPxBpQNzl4vVAmEYBAzlBKNoqhBB8pckhQagO3/FXXUbxMpw2Ws/PDwUi0X4bachFbYnISddawnCm+N+ffTjauPi9vZOxc7O7e1F+f7+S7d7Uq19ng5EVgt0VbEITCNI37233fLtkDjamAy+HUMZ0kzWt3QgtHuquhaIANe+jyeOE+p9EOFmU9C6t1IgnBjwIHzcexh9nUwIZy8A4wS42hJEFEM3JzGuXsQOY2qe5VnfWoBJx4Lp9kaFsLARhyFjzCggtHnh9ut3E4ezMAYDEI0CQhMUsn7AeRgSwjkhTmhWG6zTy/bp4PlCWzsQfWhXx8RgoGj2v5EXepb1A+U99C4GA/tXe9CvmFvFuAYNMAy5iUDh+Z2mPIPrR2hmCSpgrzZYjLYOIOQw6KH8b3yrBkaid3P9QmqwbiD2Ubu7aOtbB7DXQQ+33GSgH2w3uK6LnkkXWCYAiKOVZdR+U17taS9yACSEPQ2+d9qmHb+3ImAk5PkzpwgjTpK3Xo/VuG4mRj3R8VdVgpHAY0XR+FLdxY9azRPbM1GXj00/Wlk3I9+OOYs1QM4YqdzLh6KQMnPjDXs9D8YwKwMeVbRAAuOmShdO1mi/0+mkczNROlOjZruykx9LBXavW/oqduIf/cfmzOzbNGjkq0HgyoAbMXd0VRw6O7gp1DzX6/eOlpluqVRV383EV1Is+GZLLcHyM0CnMlKTmCYAOdEC7zpIGgDE54zrS/BrHSNqMJCVAmkA0AXgM22wLJFYP9DDJZUT6HqZctH3LNACLdACLdACLTBPIKYw4EkGPb/C90swQNIAGTvzpMgcq8LTJjh5AQXFvV40vX2eRkGUnJho5lYBWGwigWcPDpAbwIhpecCmGxTbQQZ4+deFE+qAhEC6FQQZIMZBEESaF84J6L59t3lShZ+ZOKruQHPTzU6T0snp6ebssdXj6tHR8XHhKSAnoNy4HlTmYlBpQEKta4O8URnMHf6HehgePR2o5AU8S26GZOeqCGvpE2o4krPswQ5vced9d5lAzlWCPxM8DFmsAxIIxsNsgNf5s7Y84AZUpn6IuVhwRggfby+xDf4+kPGxZqxsDBC6dLYjn76yKUC44rDwu8lA+P/4i8nAMGaNo6bBQGiCjZrm/U0BqkY4qBsMVIljpa+ZbzUFCN2gc3djMtBRc14GA1VcSYPPYlWGm57BJRhCarbvaV7ZGCDhJDC6BB12fWMykBBnfCMM7qgZcc6l4cAzqUlmcgP+DaOeFuOZCHmLxdq7nYTAECl7bMu56mHNwDgv4JfheFD5IxOVYYU7se5TH+HgY2Uwzh49GLxr60buOQGR97k2OqnNxQ6kodqPlZVqtdEoe+xohHt0mUAcBZEbzEazfe7oP/fGyu1HD2cOvhRUNOkS52ZooO7q45nJKvwskAGw3UTuzMFuUbhCe/8uLyAWnuokZr+/7MoS9L+ak4SxUiBQlPmys19XU0iaF84PKMTcdUDgZ+YHVWIVzd1MjPS8/9EMqwVaoAVaoAVaoAVaoAVaoAVaoAVaoAVaoAVaoAVaoAVaoAVaoAVaoKHAJSxzmg/w5zKnS1goNicgmi4Uq75anu/3n/MqwelSu/kvVpxbFaeLFee/3HNOwOlyz0tYMDu3NpgsmL2EJce94GXga///a8lxqZYc/9R/lL7IddF2QRXwqW9h4HTRdj9ZtH2vW4xyXvb+VeCiy95Hatn7ZOMAJHGOGweI4GXgqy+QSOR044Bk64VerlsvpCWo+UTcglU83XrhUdYO4tZ084p+unlFPo3wpSpuLgBMN6/A080rlrD9x4et87DReN94Gu/L3v6HV98ls/3HP1VD7rkx4GuIAAAAAElFTkSuQmCC">
            <a:hlinkClick r:id="rId12"/>
          </p:cNvPr>
          <p:cNvSpPr>
            <a:spLocks noChangeAspect="1" noChangeArrowheads="1"/>
          </p:cNvSpPr>
          <p:nvPr/>
        </p:nvSpPr>
        <p:spPr bwMode="auto">
          <a:xfrm>
            <a:off x="58738" y="-914400"/>
            <a:ext cx="1905000" cy="19050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60808" name="AutoShape 8" descr="data:image/png;base64,iVBORw0KGgoAAAANSUhEUgAAAKAAAACgCAMAAAC8EZcfAAAA8FBMVEU3ZaP///82ZKI1Y6E+bKr9//41ZaAvXaM4YqeltMn//vubrMg0ZZra2+0tYp7//f7///Y5ZKXf5vNlfrJadKwrX6A6Y5nx8PWXocYwYqhgfqdBbqkzZZ/6+/////NFZqG1w9pZh8MtW6Tq9/oyZ5dyibQ3YKgwa6QoY429ze41W5N5pc1lf7BifrhMa6ZnhrLb2eNmfapkhKbb5u7Q2e+ao7ny7+9AbK7H3uamtM2lsNAuWag1U6W+4udUcpxaebV+kLDM1eTh6/p9l8MgVJGhoay2v92/yuGXpMIsU5uwxtnG2PGfrtjq9/tAaLhzgqge5T1kAAAGvUlEQVR4nO3dfVfaOhgA8LQhoYTeNgECoi0qAk7U7Sq4Tb1j4ry+bMN9/29zn7Rsh2JU7l2BnHPzHOUPrPA7SZo+SSFBhLf45OPh7paKghGRUHYPP06ARhBj8bDblxhT6lLXiAAIxbjf7w5jxlArPqgWLz31FEbrpqWBsCou77JYPYg54sNqsO/CU9hNHk2IVIL2g+qQo0m3uPWmQ5GLEFo37GcAxUW082a/2N1Dn/qXoiM9FwkArrty0wCgQK6HO/Kx/wkdYk8WPNCB2hSgqk0kvILw8CHaxRQn9WtguBTvoi2M8Loh+hBwLuMttEWhRI0kYtXZADBtkwYGuLACYiOLLw2sqlhBsYlniVIBsJD2LevWPI20xylY4H8OC/zdsMD596NwXQgCCtcFkUaaGfQ8FYCAhECuDwgJu+rYRKILIkpp5KbMju93Op0Irhu4UFgnkELGKWgU+VE9UkGVUj0tBPxBpQNzl4vVAmEYBAzlBKNoqhBB8pckhQagO3/FXXUbxMpw2Ws/PDwUi0X4bachFbYnISddawnCm+N+ffTjauPi9vZOxc7O7e1F+f7+S7d7Uq19ng5EVgt0VbEITCNI37233fLtkDjamAy+HUMZ0kzWt3QgtHuquhaIANe+jyeOE+p9EOFmU9C6t1IgnBjwIHzcexh9nUwIZy8A4wS42hJEFEM3JzGuXsQOY2qe5VnfWoBJx4Lp9kaFsLARhyFjzCggtHnh9ut3E4ezMAYDEI0CQhMUsn7AeRgSwjkhTmhWG6zTy/bp4PlCWzsQfWhXx8RgoGj2v5EXepb1A+U99C4GA/tXe9CvmFvFuAYNMAy5iUDh+Z2mPIPrR2hmCSpgrzZYjLYOIOQw6KH8b3yrBkaid3P9QmqwbiD2Ubu7aOtbB7DXQQ+33GSgH2w3uK6LnkkXWCYAiKOVZdR+U17taS9yACSEPQ2+d9qmHb+3ImAk5PkzpwgjTpK3Xo/VuG4mRj3R8VdVgpHAY0XR+FLdxY9azRPbM1GXj00/Wlk3I9+OOYs1QM4YqdzLh6KQMnPjDXs9D8YwKwMeVbRAAuOmShdO1mi/0+mkczNROlOjZruykx9LBXavW/oqduIf/cfmzOzbNGjkq0HgyoAbMXd0VRw6O7gp1DzX6/eOlpluqVRV383EV1Is+GZLLcHyM0CnMlKTmCYAOdEC7zpIGgDE54zrS/BrHSNqMJCVAmkA0AXgM22wLJFYP9DDJZUT6HqZctH3LNACLdACLdACLTBPIKYw4EkGPb/C90swQNIAGTvzpMgcq8LTJjh5AQXFvV40vX2eRkGUnJho5lYBWGwigWcPDpAbwIhpecCmGxTbQQZ4+deFE+qAhEC6FQQZIMZBEESaF84J6L59t3lShZ+ZOKruQHPTzU6T0snp6ebssdXj6tHR8XHhKSAnoNy4HlTmYlBpQEKta4O8URnMHf6HehgePR2o5AU8S26GZOeqCGvpE2o4krPswQ5vced9d5lAzlWCPxM8DFmsAxIIxsNsgNf5s7Y84AZUpn6IuVhwRggfby+xDf4+kPGxZqxsDBC6dLYjn76yKUC44rDwu8lA+P/4i8nAMGaNo6bBQGiCjZrm/U0BqkY4qBsMVIljpa+ZbzUFCN2gc3djMtBRc14GA1VcSYPPYlWGm57BJRhCarbvaV7ZGCDhJDC6BB12fWMykBBnfCMM7qgZcc6l4cAzqUlmcgP+DaOeFuOZCHmLxdq7nYTAECl7bMu56mHNwDgv4JfheFD5IxOVYYU7se5TH+HgY2Uwzh49GLxr60buOQGR97k2OqnNxQ6kodqPlZVqtdEoe+xohHt0mUAcBZEbzEazfe7oP/fGyu1HD2cOvhRUNOkS52ZooO7q45nJKvwskAGw3UTuzMFuUbhCe/8uLyAWnuokZr+/7MoS9L+ak4SxUiBQlPmys19XU0iaF84PKMTcdUDgZ+YHVWIVzd1MjPS8/9EMqwVaoAVaoAVaoAVaoAVaoAVaoAVaoAVaoAVaoAVaoAVaoAVaoAVaoKHAJSxzmg/w5zKnS1goNicgmi4Uq75anu/3n/MqwelSu/kvVpxbFaeLFee/3HNOwOlyz0tYMDu3NpgsmL2EJce94GXga///a8lxqZYc/9R/lL7IddF2QRXwqW9h4HTRdj9ZtH2vW4xyXvb+VeCiy95Hatn7ZOMAJHGOGweI4GXgqy+QSOR044Bk64VerlsvpCWo+UTcglU83XrhUdYO4tZ084p+unlFPo3wpSpuLgBMN6/A080rlrD9x4et87DReN94Gu/L3v6HV98ls/3HP1VD7rkx4GuIAAAAAElFTkSuQmCC">
            <a:hlinkClick r:id="rId12"/>
          </p:cNvPr>
          <p:cNvSpPr>
            <a:spLocks noChangeAspect="1" noChangeArrowheads="1"/>
          </p:cNvSpPr>
          <p:nvPr/>
        </p:nvSpPr>
        <p:spPr bwMode="auto">
          <a:xfrm>
            <a:off x="58738" y="-914400"/>
            <a:ext cx="1905000" cy="19050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60810" name="AutoShape 10" descr="data:image/png;base64,iVBORw0KGgoAAAANSUhEUgAAASsAAACpCAMAAABEdevhAAAAbFBMVEX///87V5319vkgRZXN1eXDyuA5VZxCXaHi5/BHYqOVosgyUZvV2+k1U5t5i7r6+/3c4e1XbqrJ0OJqfrLu8PZPaKY+Wp+hrc2Bkb2sttG1v9iGlsByhrfp7PNfda3Q1+aOncRme7ErTJi8xdxvn+TSAAAEJklEQVR4nO3dbXOiMBiFYbH1QY2RN0FaX4r2///HVTvdKR0STxxW2OTcn/zgVrhGGJYkMpn0UZLvF9FIq8o6T3rZy15K61hkaBNjouM6HZrouzxT45W6JjrLh0b6Ki310Bh30+UovlnJfvxUF6xiDOesmR73AfiVqBEchUmhhnaAUsuhpSaT6cjP69/pbPiDcPoytAKWqOnQVP+NVfRCKzha4dEKj1Z4tMKjFR6t8GiFRys8WuHRCo9WeLTCoxVeoFYiWit97fpKq8trubyMrANvIVpddKJFdtrXza1dvV7vi9MxKxdxJcp88z80KxH1Ujbvr/NNa8eTZDrdHObpR/65rExYYVmJjo7NnXG+dEGrS2pRzw73NmdFqyjSUZ0De0urSFQ5gzaHVlo1G2xzgrfS5Ts6EBq6lS7xuQiBW+mFw7SNsK2kcpnhErSVRJ8umxOylYjbXKCQrfTp7qV6q4CtRGOXoH8L2OrcOG5OuFYSu04fDtdKN66bE65VtXLdnGCtdOG8f8FaydZ5c4K1ip0PwWCt9Ml9Snqo99sfWeqQGtcx+m2l791g2OTbpl63KqowreK59ZNXuzK6DT23Mv41r63kaNu76Ta2DDKHZqXWlo9Ndq5L8fy2sp3a386uy8u8tjq/mT91brw0MOa3leXm8dZ9gafXVsp8m2/6wBprn63Ecnk1z2j1MxGzlfl/fea8topejR+a06qVzWoWu/89WuHRCo9WeLTCoxUerfBohUcrPFrh0QqPVni0wqMVHq3waIXnjZV0ZbP6Pdx8b9TZGyuJF119GD80Lzv/wSXvx+j157wr885NO99/KTePWfhhJdp9Tpqh3Dxu6ImV6s3qjVZwS1rB1bRCSwrvz+29WW0sY/e0amebakSrdivjzFpa/S63TIykVbt3y1QjWrWzTfejVatkRyt4W/a0QjscLTewaNUqLWmF9mF7WB2tWs0ifq/QbJdXtGpnXU1Bq1YNreBsl1e0apXYLq9o1epgXU3hh1XU05jXyrpU1RMrqZddmZeGp53vX1sXFXpidf2d8Y4s8xmqrvfb1zP5YtUNaJv7wXVeP+OcIjxa4dEKj1Z4tMKjFR6t8GiFRys8WuHRCo9WeLTCoxUerfBohUcrPFrh0QqPVni0wqMVHq3waIVHKzxa4dEKj1Z4tMKjFR6t8GiFRys8WuHRCo9WeLTCoxUerfBohUcrPFrh0QqPVni0wqMVHq3waIVHKzxa4dEKj1Z4tMLz0ercP9Otnq1EjcDK/ZcSwJ3r2SpLnqhiaO3+WGps5/q1Ussnmpia3fltkkfr10qU+cnazyt54Nnw0N71aqWLERyC11/1/CdYvVrpMn2iiKU8U//gMOzRSnQ2hiPwVlpXyvp8qCGtRFRVj+RbdS1ZbYsHLg+fYrUotqt+zlV/AOSQiQe1RNnzAAAAAElFTkSuQmCC">
            <a:hlinkClick r:id="rId13"/>
          </p:cNvPr>
          <p:cNvSpPr>
            <a:spLocks noChangeAspect="1" noChangeArrowheads="1"/>
          </p:cNvSpPr>
          <p:nvPr/>
        </p:nvSpPr>
        <p:spPr bwMode="auto">
          <a:xfrm>
            <a:off x="58738" y="-1371600"/>
            <a:ext cx="5048250" cy="28575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60816" name="AutoShape 16" descr="data:image/png;base64,iVBORw0KGgoAAAANSUhEUgAAAJwAAACcCAMAAAC9ZjJ/AAAA8FBMVEX8/vwAAAD////8//8EAgT8Ain8AADKy8r86uz8Znk9PT3809X8jI34+vj8AiUiICI2Mzbm6Ob8ABr8Aiz8ACDAwcDe4N7x8/G6vLp0dnSTkZMRERH8ABZPUE/8N0WVlpWAf4Cvr6+fn59aWVr8AA2LjIv8ytJjY2MuLS7X1tekoqRrbWuDhYNEQkT8Q1v8tL/8mqUYGRj8o6r8Nkz8X2n86Ov8xtD8Wm0jJCPU0NT8UWL8LDv8h5P8bnn8dYL84er8maD8cIj8orP8g5ATDhP8vcP8Y3MKDwpMT0z82eKjfH0AFBDElpn/nJ7cwsL8SVScrYUOAAAHi0lEQVR4nO2YaXPaSBCGmREgglcyErowYCEOg8BOgh1fwdk4iY94r/z/f7Pdc4AuJ+Wt5MtWv2UMjKSZh56+pFqNRCKRSCQSiUQikUgkEolEIpFIJBKJRCKRSCQSiUQikf7H4qgXHvmOjJyqR8vTcl65GI9AflixjOPDkfSFbK3T3zK612xP2dG//4nNPAePjmezWRyUmNeMsUVpGA6YdThyYL2IzWg9NDN6a2g4tznFAfFv88ef8/yC/CtD+SW4DquztlMFtw9HXgz3atC1Gza+7MHD+XZfb6d2t9GA4UbXO/trkuSn5YzVwRTRL4ezAQDg8O/t9mLjYuPheANe9uFewbt4CGwANysu9gO4+MVwbqMhKdxve7sDrQ+DhpJ7uGfkr+IJrAR0w7CA8dPhYFvBeEDnfmlljpwKy+GrAm7FWB8W2y9i/PRtVRC2t7nITffNbSCz3a2AGzLWbjN2Z/5qOFcGRHdweZ5l4DdNudvlbeUOgK16EK6zHYZIe3m4TCrcbit8z8e9PqciQQs44XN2800OwXhqimi1K+CSPmNL9LuJnpLXnGs/DfliB8etIPWvA+mWynI1KzD9IOOp3ElNEweCitQttxUzibt5KiBcTpG5Ylt5DEaLTFjtShsmTIaLq04PTKrhuBO3F4tFe5TyneXEWPs42JptOeksFp1eGo4elyXbaZ/r2oObgmMZR679zLaOMAE7sNpjKu0S9kRSZl+3cJbflkPs0d/CjSZyqKMuc9Rl7C4ZT5JKOLQOhMO9IrCU1xrnlwOZYgpwPIB4WKQOzipnDGOZlIFEwfHrEyYG8Lup4RZ9HIAzv4rLHPyREPZw5AR84pltRYKHliQw7k8VCn8rA7kE58OUc8fC5Udiz/wFsi3aV2JlhBOmrA97HVx+5XABB7RrdQ7WFmsJXI/zsTDnqJgyM9vqbU61wT4d6k9P3yCSuyWf45Gg4jN46+GU4ayOBkrDRBAAHL9Gc8wDyxzCe8evKbjHKDTb+GHO5QbAOTVnhQ6RfgdO5xHj6dDTYWt98arynDWDyWIuysQQGgKeog07JuSEsYZbCVpIEglYiq1Cua1gMM5TcU6A14N3QKbk5gInLOdAFa27smrcDqa/689HGw/B83Aiy60TLnZ3gY1JhAmkhz5jMelzXBiuJv0TMo4j4SbY23D8KXC9tRLY+pzRs6nEPTxShvv43vU2CgZCYgruWIIDKLTKNThUHyLCmt0B7Rh/kc5z2BiwYyRxhA1NlecQAC0OWYU7d0yeUwtHYNReNRzsXPOL2nHjHr+dao7PzXJtBX+C7YTdcOZAOeY8XKmQ3JWvCNcXkRwegNf3l5nyxQMJJ97GokKM+xhhz+Q5z9N5pPXgYj7WkXt+5jaKPgdZTjg0+l4d5wzn8C4dWsMdoINJF0/W8HmWhXOYCCjhe50hqlOvPwMH9X1wqQ2318W0t61k4IF2aVvRxed+EiU96fXhREVGAU6uBhHMNFycgbN82RPKZPgcnAd1YNuev3Ix6w0O9feLQ7cEh3P3r9b7a+yarswfw4HJypYLowwcaFK+80C4rnumyqrRsrFaNLrNj3qbPwwKPsfN3aR1DLvac3DhDq7CcgKOzUc9qdW4MiBcz77RueNmiokNYuBS47yBdj0Pd4yT9oWQchVWwMUIF5TgMpabiVSOic/iFv5VtHpoOe9M55Hz9664aeh6m21qeecWLIcoV+M4jsczLPPDUATEMBcQS6ZvfyyMxLtx3nIiWlP5VmbKW+53HZxvvOl0MMWKMbjVVeK0sK2WyKrQHliWyGEdx8L63fFrGThTL8xFDoNUnbFciuRjmUqOfwA39T7rSv/5Neiyi1Xh3bacnTWzcFhrVArjVgxW2Y9qMd5KizsxfpdJwiuEC8SeqwohqoBIRVcRdxaysH0XrrltzzlvWTzkR03Y2ek2833Jw43RY1TYC9Aev26rZcBiqnxdSaTa9piAw3sOWdqGYU00Dn3VYlYiItytURjCzDt4ULdixsUgByemVI140BatuqiNdzPwpqEu/Biu/Rn8VNzy/cRSXQn0MpZoDqCb4RE2fyeRqBFO1fMV4/xhc56Hgz4Oi9ZUE/H3mx0c1ixIAKH6gnt2YlljbJnYCDszBZei8+0f+zNV71VXwkbxqK8iWZRd8NnZGKJrvqygg9r+2iiOXWCfMv2kE/FNxnJyVd1Rh+g++ylP22yX7EWzaWFvDDZD6nrCRT/H+o/qDBUH5mJ32ariftI4/3RRhKtZHwae7TZ1Sfv4IQMX4Uz6GQn6mKj9EVN9ug+x0UazWAc69dfFT0mgc+nFdZnA1ZMCfj2UrKBhxaOpWutzqzRmnNpew2vqO57WbcbnsENcmzm4A2BJhmKFxNlXNxbgW2KoP5dmToBhFS5xaH2sQXgwOhFo60nslNlg6YrU3Lq4B22RsqcEvu+bW/8I4Zt4JMgDf7mMAm6ZMOKolaNknJhquxy8zuJ+EifmLjbxfhWfN5pOdbxWKv+YM6vCA83dDTvXr+1h9TV3Ilar8h3/f3ggSyKRSCQSiUQikUgkEolEIpFIJBKJRCKRSCQSiUQikUi/WP8C/WKtgTlfw8IAAAAASUVORK5CYII=">
            <a:hlinkClick r:id="rId14"/>
          </p:cNvPr>
          <p:cNvSpPr>
            <a:spLocks noChangeAspect="1" noChangeArrowheads="1"/>
          </p:cNvSpPr>
          <p:nvPr/>
        </p:nvSpPr>
        <p:spPr bwMode="auto">
          <a:xfrm>
            <a:off x="58738" y="-890588"/>
            <a:ext cx="1857375" cy="1857376"/>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7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graphicFrame>
        <p:nvGraphicFramePr>
          <p:cNvPr id="8" name="Diagram 7"/>
          <p:cNvGraphicFramePr/>
          <p:nvPr/>
        </p:nvGraphicFramePr>
        <p:xfrm>
          <a:off x="1446047" y="1401087"/>
          <a:ext cx="6893911"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8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title"/>
            <p:custDataLst>
              <p:tags r:id="rId3"/>
            </p:custDataLst>
          </p:nvPr>
        </p:nvSpPr>
        <p:spPr/>
        <p:txBody>
          <a:bodyPr>
            <a:noAutofit/>
          </a:bodyPr>
          <a:lstStyle/>
          <a:p>
            <a:r>
              <a:rPr lang="en-US" sz="3200" dirty="0" smtClean="0"/>
              <a:t>Evaluation Of NoSQL</a:t>
            </a:r>
            <a:endParaRPr lang="en-US" sz="3200" dirty="0"/>
          </a:p>
        </p:txBody>
      </p:sp>
      <p:sp>
        <p:nvSpPr>
          <p:cNvPr id="2" name="Content Placeholder 1"/>
          <p:cNvSpPr>
            <a:spLocks noGrp="1"/>
          </p:cNvSpPr>
          <p:nvPr>
            <p:ph idx="1"/>
          </p:nvPr>
        </p:nvSpPr>
        <p:spPr>
          <a:xfrm>
            <a:off x="323391" y="1007707"/>
            <a:ext cx="8839269" cy="5130812"/>
          </a:xfrm>
        </p:spPr>
        <p:txBody>
          <a:bodyPr>
            <a:normAutofit/>
          </a:bodyPr>
          <a:lstStyle/>
          <a:p>
            <a:r>
              <a:rPr lang="en-US" dirty="0"/>
              <a:t>As you go about investigating the different options, there are several important criteria to mull over</a:t>
            </a:r>
            <a:r>
              <a:rPr lang="en-US" dirty="0" smtClean="0"/>
              <a:t>.</a:t>
            </a:r>
          </a:p>
          <a:p>
            <a:endParaRPr lang="en-US" dirty="0" smtClean="0"/>
          </a:p>
          <a:p>
            <a:r>
              <a:rPr lang="en-US" dirty="0" smtClean="0"/>
              <a:t> </a:t>
            </a:r>
            <a:r>
              <a:rPr lang="en-US" dirty="0"/>
              <a:t>First is whether the database enjoys widespread adoption and support. </a:t>
            </a:r>
            <a:endParaRPr lang="en-US" dirty="0" smtClean="0"/>
          </a:p>
          <a:p>
            <a:pPr marL="0" indent="0">
              <a:buNone/>
            </a:pPr>
            <a:endParaRPr lang="en-US" dirty="0" smtClean="0"/>
          </a:p>
          <a:p>
            <a:r>
              <a:rPr lang="en-US" dirty="0" smtClean="0"/>
              <a:t>Does </a:t>
            </a:r>
            <a:r>
              <a:rPr lang="en-US" dirty="0"/>
              <a:t>the database have a robust developer community and partner ecosystem? If so, then that is a good indicator of its potential for future growth and adoption within your organization</a:t>
            </a:r>
            <a:r>
              <a:rPr lang="en-US" dirty="0" smtClean="0"/>
              <a:t>.</a:t>
            </a:r>
          </a:p>
          <a:p>
            <a:pPr marL="0" indent="0">
              <a:buNone/>
            </a:pPr>
            <a:endParaRPr lang="en-US" dirty="0"/>
          </a:p>
          <a:p>
            <a:r>
              <a:rPr lang="en-US" dirty="0"/>
              <a:t>Another aspect to consider is the applicability of the database to a broad variety of use cases. If the database technology is only good at satisfying one or two scenarios then you can expect it to eventually die on the vine, so to speak.</a:t>
            </a:r>
          </a:p>
          <a:p>
            <a:endParaRPr lang="en-US" dirty="0"/>
          </a:p>
        </p:txBody>
      </p:sp>
    </p:spTree>
    <p:extLst>
      <p:ext uri="{BB962C8B-B14F-4D97-AF65-F5344CB8AC3E}">
        <p14:creationId xmlns:p14="http://schemas.microsoft.com/office/powerpoint/2010/main" val="422734754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191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title"/>
            <p:custDataLst>
              <p:tags r:id="rId3"/>
            </p:custDataLst>
          </p:nvPr>
        </p:nvSpPr>
        <p:spPr/>
        <p:txBody>
          <a:bodyPr>
            <a:noAutofit/>
          </a:bodyPr>
          <a:lstStyle/>
          <a:p>
            <a:r>
              <a:rPr lang="en-US" sz="3200" dirty="0" smtClean="0"/>
              <a:t>Evaluation Of NoSQL</a:t>
            </a:r>
            <a:endParaRPr lang="en-US" sz="3200" dirty="0"/>
          </a:p>
        </p:txBody>
      </p:sp>
      <p:sp>
        <p:nvSpPr>
          <p:cNvPr id="2" name="Content Placeholder 1"/>
          <p:cNvSpPr>
            <a:spLocks noGrp="1"/>
          </p:cNvSpPr>
          <p:nvPr>
            <p:ph idx="1"/>
          </p:nvPr>
        </p:nvSpPr>
        <p:spPr>
          <a:xfrm>
            <a:off x="323392" y="1007707"/>
            <a:ext cx="8167466" cy="5130812"/>
          </a:xfrm>
        </p:spPr>
        <p:txBody>
          <a:bodyPr>
            <a:normAutofit/>
          </a:bodyPr>
          <a:lstStyle/>
          <a:p>
            <a:endParaRPr lang="en-US" dirty="0" smtClean="0"/>
          </a:p>
          <a:p>
            <a:r>
              <a:rPr lang="en-US" dirty="0" smtClean="0"/>
              <a:t>In </a:t>
            </a:r>
            <a:r>
              <a:rPr lang="en-US" dirty="0"/>
              <a:t>2006 Google published </a:t>
            </a:r>
            <a:r>
              <a:rPr lang="en-US" dirty="0"/>
              <a:t>BigTable</a:t>
            </a:r>
            <a:r>
              <a:rPr lang="en-US" dirty="0"/>
              <a:t> paper.</a:t>
            </a:r>
          </a:p>
          <a:p>
            <a:r>
              <a:rPr lang="en-US" dirty="0" smtClean="0"/>
              <a:t>In </a:t>
            </a:r>
            <a:r>
              <a:rPr lang="en-US" dirty="0"/>
              <a:t>2007 Amazon presented </a:t>
            </a:r>
            <a:r>
              <a:rPr lang="en-US" dirty="0"/>
              <a:t>DynamoDB</a:t>
            </a:r>
            <a:r>
              <a:rPr lang="en-US" dirty="0"/>
              <a:t>.</a:t>
            </a:r>
          </a:p>
          <a:p>
            <a:r>
              <a:rPr lang="en-US" dirty="0" smtClean="0"/>
              <a:t>It </a:t>
            </a:r>
            <a:r>
              <a:rPr lang="en-US" dirty="0"/>
              <a:t>didn’t take long for all these ideas to used in:</a:t>
            </a:r>
          </a:p>
          <a:p>
            <a:pPr lvl="3"/>
            <a:r>
              <a:rPr lang="en-US" sz="2000" dirty="0" smtClean="0"/>
              <a:t> </a:t>
            </a:r>
            <a:r>
              <a:rPr lang="en-US" sz="2000" dirty="0"/>
              <a:t>Several open source projects (</a:t>
            </a:r>
            <a:r>
              <a:rPr lang="en-US" sz="2000" dirty="0"/>
              <a:t>Hbase</a:t>
            </a:r>
            <a:r>
              <a:rPr lang="en-US" sz="2000" dirty="0"/>
              <a:t>, Cassandra) and</a:t>
            </a:r>
          </a:p>
          <a:p>
            <a:pPr lvl="3"/>
            <a:r>
              <a:rPr lang="en-US" sz="2000" dirty="0" smtClean="0"/>
              <a:t> </a:t>
            </a:r>
            <a:r>
              <a:rPr lang="en-US" sz="2000" dirty="0"/>
              <a:t>Other companies (Facebook, Twitter, …)</a:t>
            </a:r>
          </a:p>
          <a:p>
            <a:r>
              <a:rPr lang="en-US" dirty="0" smtClean="0"/>
              <a:t>And </a:t>
            </a:r>
            <a:r>
              <a:rPr lang="en-US" dirty="0"/>
              <a:t>now? Now, nosql-database.org lists more than</a:t>
            </a:r>
          </a:p>
          <a:p>
            <a:r>
              <a:rPr lang="en-US" dirty="0"/>
              <a:t>150 NoSQL databases</a:t>
            </a:r>
            <a:r>
              <a:rPr lang="en-US" dirty="0" smtClean="0"/>
              <a:t>.</a:t>
            </a:r>
            <a:endParaRPr lang="en-US" dirty="0"/>
          </a:p>
        </p:txBody>
      </p:sp>
    </p:spTree>
    <p:extLst>
      <p:ext uri="{BB962C8B-B14F-4D97-AF65-F5344CB8AC3E}">
        <p14:creationId xmlns:p14="http://schemas.microsoft.com/office/powerpoint/2010/main" val="68213514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106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223934"/>
            <a:ext cx="8915400" cy="756793"/>
          </a:xfrm>
          <a:prstGeom prst="rect">
            <a:avLst/>
          </a:prstGeom>
        </p:spPr>
        <p:txBody>
          <a:bodyPr vert="horz" lIns="297529" tIns="33059" rIns="165294" bIns="33059" rtlCol="0" anchor="ctr">
            <a:normAutofit/>
          </a:bodyPr>
          <a:lstStyle/>
          <a:p>
            <a:pPr defTabSz="914342">
              <a:spcBef>
                <a:spcPct val="0"/>
              </a:spcBef>
            </a:pPr>
            <a:r>
              <a:rPr lang="en-US" sz="2800" dirty="0">
                <a:solidFill>
                  <a:srgbClr val="0094C3"/>
                </a:solidFill>
              </a:rPr>
              <a:t>Why</a:t>
            </a:r>
            <a:r>
              <a:rPr lang="en-US" sz="2800" dirty="0">
                <a:solidFill>
                  <a:srgbClr val="0094C3"/>
                </a:solidFill>
                <a:latin typeface="Arial Narrow" pitchFamily="34" charset="0"/>
              </a:rPr>
              <a:t> </a:t>
            </a:r>
            <a:r>
              <a:rPr lang="en-US" sz="2800" dirty="0" smtClean="0">
                <a:solidFill>
                  <a:srgbClr val="0094C3"/>
                </a:solidFill>
                <a:latin typeface="Arial Narrow" pitchFamily="34" charset="0"/>
              </a:rPr>
              <a:t>NoSQL</a:t>
            </a:r>
            <a:r>
              <a:rPr lang="en-US" sz="2800" dirty="0" smtClean="0">
                <a:solidFill>
                  <a:srgbClr val="0094C3"/>
                </a:solidFill>
                <a:latin typeface="Arial Narrow" pitchFamily="34" charset="0"/>
              </a:rPr>
              <a:t>-What </a:t>
            </a:r>
            <a:r>
              <a:rPr lang="en-US" sz="2800" dirty="0" smtClean="0">
                <a:solidFill>
                  <a:srgbClr val="0094C3"/>
                </a:solidFill>
                <a:latin typeface="Arial Narrow" pitchFamily="34" charset="0"/>
              </a:rPr>
              <a:t>is NoSQL?</a:t>
            </a:r>
          </a:p>
        </p:txBody>
      </p:sp>
      <p:graphicFrame>
        <p:nvGraphicFramePr>
          <p:cNvPr id="6" name="Diagram 5"/>
          <p:cNvGraphicFramePr/>
          <p:nvPr/>
        </p:nvGraphicFramePr>
        <p:xfrm>
          <a:off x="1024759" y="1119350"/>
          <a:ext cx="7740868" cy="50449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281188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89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298580"/>
            <a:ext cx="8915400" cy="682148"/>
          </a:xfrm>
          <a:prstGeom prst="rect">
            <a:avLst/>
          </a:prstGeom>
        </p:spPr>
        <p:txBody>
          <a:bodyPr vert="horz" lIns="297529" tIns="33059" rIns="165294" bIns="33059" rtlCol="0" anchor="ctr">
            <a:normAutofit/>
          </a:bodyPr>
          <a:lstStyle/>
          <a:p>
            <a:pPr defTabSz="914342">
              <a:spcBef>
                <a:spcPct val="0"/>
              </a:spcBef>
            </a:pPr>
            <a:r>
              <a:rPr lang="en-US" sz="3200" dirty="0" smtClean="0">
                <a:solidFill>
                  <a:srgbClr val="0094C3"/>
                </a:solidFill>
              </a:rPr>
              <a:t>Why</a:t>
            </a:r>
            <a:r>
              <a:rPr lang="en-US" sz="3200" dirty="0" smtClean="0">
                <a:solidFill>
                  <a:srgbClr val="0094C3"/>
                </a:solidFill>
                <a:latin typeface="Arial Narrow" pitchFamily="34" charset="0"/>
              </a:rPr>
              <a:t> NoSQL</a:t>
            </a:r>
          </a:p>
        </p:txBody>
      </p:sp>
      <p:graphicFrame>
        <p:nvGraphicFramePr>
          <p:cNvPr id="8" name="Diagram 7"/>
          <p:cNvGraphicFramePr/>
          <p:nvPr>
            <p:extLst>
              <p:ext uri="{D42A27DB-BD31-4B8C-83A1-F6EECF244321}">
                <p14:modId xmlns:p14="http://schemas.microsoft.com/office/powerpoint/2010/main" val="265252712"/>
              </p:ext>
            </p:extLst>
          </p:nvPr>
        </p:nvGraphicFramePr>
        <p:xfrm>
          <a:off x="1114973" y="1150884"/>
          <a:ext cx="7729482" cy="502919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323392" y="354330"/>
            <a:ext cx="9005370" cy="527321"/>
          </a:xfrm>
        </p:spPr>
        <p:txBody>
          <a:bodyPr vert="horz" lIns="84406" tIns="42203" rIns="84406" bIns="42203" rtlCol="0" anchor="ctr">
            <a:noAutofit/>
          </a:bodyPr>
          <a:lstStyle/>
          <a:p>
            <a:r>
              <a:rPr lang="en-US" sz="3200" dirty="0" smtClean="0">
                <a:solidFill>
                  <a:srgbClr val="0094C3"/>
                </a:solidFill>
                <a:latin typeface="+mn-lt"/>
              </a:rPr>
              <a:t/>
            </a:r>
            <a:br>
              <a:rPr lang="en-US" sz="3200" dirty="0" smtClean="0">
                <a:solidFill>
                  <a:srgbClr val="0094C3"/>
                </a:solidFill>
                <a:latin typeface="+mn-lt"/>
              </a:rPr>
            </a:br>
            <a:r>
              <a:rPr lang="en-US" sz="2800" dirty="0" smtClean="0">
                <a:solidFill>
                  <a:srgbClr val="0094C3"/>
                </a:solidFill>
                <a:latin typeface="+mn-lt"/>
              </a:rPr>
              <a:t>Why </a:t>
            </a:r>
            <a:r>
              <a:rPr lang="en-US" sz="2800" dirty="0">
                <a:solidFill>
                  <a:srgbClr val="0094C3"/>
                </a:solidFill>
                <a:latin typeface="+mn-lt"/>
              </a:rPr>
              <a:t>NoSQL</a:t>
            </a:r>
            <a:r>
              <a:rPr lang="en-US" dirty="0">
                <a:solidFill>
                  <a:srgbClr val="0094C3"/>
                </a:solidFill>
                <a:latin typeface="Arial Narrow" pitchFamily="34" charset="0"/>
              </a:rPr>
              <a:t/>
            </a:r>
            <a:br>
              <a:rPr lang="en-US" dirty="0">
                <a:solidFill>
                  <a:srgbClr val="0094C3"/>
                </a:solidFill>
                <a:latin typeface="Arial Narrow" pitchFamily="34" charset="0"/>
              </a:rPr>
            </a:br>
            <a:endParaRPr lang="en-US" altLang="en-US" b="1" dirty="0" smtClean="0"/>
          </a:p>
        </p:txBody>
      </p:sp>
      <p:sp>
        <p:nvSpPr>
          <p:cNvPr id="45059" name="Content Placeholder 2"/>
          <p:cNvSpPr>
            <a:spLocks noGrp="1"/>
          </p:cNvSpPr>
          <p:nvPr>
            <p:ph idx="1"/>
          </p:nvPr>
        </p:nvSpPr>
        <p:spPr/>
        <p:txBody>
          <a:bodyPr/>
          <a:lstStyle/>
          <a:p>
            <a:r>
              <a:rPr lang="en-US" dirty="0"/>
              <a:t>Reason for NoSQL are</a:t>
            </a:r>
          </a:p>
          <a:p>
            <a:pPr lvl="3"/>
            <a:r>
              <a:rPr lang="en-US" dirty="0"/>
              <a:t>Schema-less data storage</a:t>
            </a:r>
          </a:p>
          <a:p>
            <a:pPr lvl="3"/>
            <a:r>
              <a:rPr lang="en-US" dirty="0"/>
              <a:t>Quick data storage and traversal</a:t>
            </a:r>
          </a:p>
          <a:p>
            <a:pPr lvl="3"/>
            <a:r>
              <a:rPr lang="en-US" dirty="0"/>
              <a:t>Easier to program</a:t>
            </a:r>
          </a:p>
          <a:p>
            <a:pPr lvl="3"/>
            <a:r>
              <a:rPr lang="en-US" dirty="0"/>
              <a:t>Better performance</a:t>
            </a:r>
          </a:p>
          <a:p>
            <a:pPr lvl="3"/>
            <a:r>
              <a:rPr lang="en-US" dirty="0"/>
              <a:t>Easily distributed</a:t>
            </a:r>
          </a:p>
          <a:p>
            <a:pPr>
              <a:buNone/>
            </a:pPr>
            <a:endParaRPr lang="en-US" altLang="en-US" dirty="0"/>
          </a:p>
        </p:txBody>
      </p:sp>
      <p:pic>
        <p:nvPicPr>
          <p:cNvPr id="5" name="Picture 4" descr="Relational vs. NoSQL databases"/>
          <p:cNvPicPr/>
          <p:nvPr/>
        </p:nvPicPr>
        <p:blipFill>
          <a:blip r:embed="rId3">
            <a:extLst>
              <a:ext uri="{28A0092B-C50C-407E-A947-70E740481C1C}">
                <a14:useLocalDpi xmlns:a14="http://schemas.microsoft.com/office/drawing/2010/main" val="0"/>
              </a:ext>
            </a:extLst>
          </a:blip>
          <a:srcRect/>
          <a:stretch>
            <a:fillRect/>
          </a:stretch>
        </p:blipFill>
        <p:spPr bwMode="auto">
          <a:xfrm>
            <a:off x="4683852" y="1312985"/>
            <a:ext cx="4394200" cy="4394200"/>
          </a:xfrm>
          <a:prstGeom prst="rect">
            <a:avLst/>
          </a:prstGeom>
          <a:noFill/>
          <a:ln>
            <a:noFill/>
          </a:ln>
        </p:spPr>
      </p:pic>
    </p:spTree>
    <p:extLst>
      <p:ext uri="{BB962C8B-B14F-4D97-AF65-F5344CB8AC3E}">
        <p14:creationId xmlns:p14="http://schemas.microsoft.com/office/powerpoint/2010/main" val="15591582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2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a:solidFill>
                  <a:srgbClr val="0094C3"/>
                </a:solidFill>
              </a:rPr>
              <a:t>Why</a:t>
            </a:r>
            <a:r>
              <a:rPr lang="en-US" sz="3600" dirty="0">
                <a:solidFill>
                  <a:srgbClr val="0094C3"/>
                </a:solidFill>
                <a:latin typeface="Arial Narrow" pitchFamily="34" charset="0"/>
              </a:rPr>
              <a:t> NoSQL</a:t>
            </a:r>
          </a:p>
        </p:txBody>
      </p:sp>
      <p:pic>
        <p:nvPicPr>
          <p:cNvPr id="7" name="Content Placeholder 3" descr="What-is-NoSQL-Image-2"/>
          <p:cNvPicPr>
            <a:picLocks noGrp="1"/>
          </p:cNvPicPr>
          <p:nvPr>
            <p:ph sz="quarter" idx="4294967295"/>
          </p:nvPr>
        </p:nvPicPr>
        <p:blipFill>
          <a:blip r:embed="rId7" cstate="print"/>
          <a:srcRect/>
          <a:stretch>
            <a:fillRect/>
          </a:stretch>
        </p:blipFill>
        <p:spPr bwMode="auto">
          <a:xfrm>
            <a:off x="0" y="2582863"/>
            <a:ext cx="4329113" cy="1722437"/>
          </a:xfrm>
          <a:prstGeom prst="rect">
            <a:avLst/>
          </a:prstGeom>
          <a:ln>
            <a:noFill/>
          </a:ln>
          <a:effectLst>
            <a:outerShdw blurRad="190500" algn="tl" rotWithShape="0">
              <a:srgbClr val="000000">
                <a:alpha val="70000"/>
              </a:srgbClr>
            </a:outerShdw>
          </a:effectLst>
        </p:spPr>
      </p:pic>
      <p:pic>
        <p:nvPicPr>
          <p:cNvPr id="8" name="Picture 2" descr="web application data growth - w3resouce"/>
          <p:cNvPicPr>
            <a:picLocks noChangeAspect="1" noChangeArrowheads="1"/>
          </p:cNvPicPr>
          <p:nvPr/>
        </p:nvPicPr>
        <p:blipFill>
          <a:blip r:embed="rId8" cstate="print"/>
          <a:srcRect/>
          <a:stretch>
            <a:fillRect/>
          </a:stretch>
        </p:blipFill>
        <p:spPr bwMode="auto">
          <a:xfrm>
            <a:off x="4597945" y="1667316"/>
            <a:ext cx="5229225" cy="35528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15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309092"/>
            <a:ext cx="8915400" cy="671635"/>
          </a:xfrm>
          <a:prstGeom prst="rect">
            <a:avLst/>
          </a:prstGeom>
        </p:spPr>
        <p:txBody>
          <a:bodyPr vert="horz" lIns="297529" tIns="33059" rIns="165294" bIns="33059" rtlCol="0" anchor="ctr">
            <a:normAutofit/>
          </a:bodyPr>
          <a:lstStyle/>
          <a:p>
            <a:pPr defTabSz="914342">
              <a:spcBef>
                <a:spcPct val="0"/>
              </a:spcBef>
            </a:pPr>
            <a:r>
              <a:rPr lang="en-US" sz="3600" dirty="0">
                <a:solidFill>
                  <a:srgbClr val="0094C3"/>
                </a:solidFill>
              </a:rPr>
              <a:t>Why</a:t>
            </a:r>
            <a:r>
              <a:rPr lang="en-US" sz="3600" dirty="0">
                <a:solidFill>
                  <a:srgbClr val="0094C3"/>
                </a:solidFill>
                <a:latin typeface="Arial Narrow" pitchFamily="34" charset="0"/>
              </a:rPr>
              <a:t> </a:t>
            </a:r>
            <a:r>
              <a:rPr lang="en-US" sz="3600" dirty="0" smtClean="0">
                <a:solidFill>
                  <a:srgbClr val="0094C3"/>
                </a:solidFill>
                <a:latin typeface="Arial Narrow" pitchFamily="34" charset="0"/>
              </a:rPr>
              <a:t>NoSQL</a:t>
            </a:r>
            <a:r>
              <a:rPr lang="en-US" sz="3600" dirty="0" smtClean="0">
                <a:solidFill>
                  <a:srgbClr val="0094C3"/>
                </a:solidFill>
                <a:latin typeface="Arial Narrow" pitchFamily="34" charset="0"/>
              </a:rPr>
              <a:t>-Example </a:t>
            </a:r>
            <a:r>
              <a:rPr lang="en-US" sz="3600" dirty="0" smtClean="0">
                <a:solidFill>
                  <a:srgbClr val="0094C3"/>
                </a:solidFill>
                <a:latin typeface="Arial Narrow" pitchFamily="34" charset="0"/>
              </a:rPr>
              <a:t>1 </a:t>
            </a:r>
          </a:p>
        </p:txBody>
      </p:sp>
      <p:sp>
        <p:nvSpPr>
          <p:cNvPr id="7" name="Rectangle 6"/>
          <p:cNvSpPr/>
          <p:nvPr/>
        </p:nvSpPr>
        <p:spPr>
          <a:xfrm>
            <a:off x="3494340" y="1202889"/>
            <a:ext cx="3157920" cy="384721"/>
          </a:xfrm>
          <a:prstGeom prst="rect">
            <a:avLst/>
          </a:prstGeom>
        </p:spPr>
        <p:style>
          <a:lnRef idx="1">
            <a:schemeClr val="accent5"/>
          </a:lnRef>
          <a:fillRef idx="3">
            <a:schemeClr val="accent5"/>
          </a:fillRef>
          <a:effectRef idx="2">
            <a:schemeClr val="accent5"/>
          </a:effectRef>
          <a:fontRef idx="minor">
            <a:schemeClr val="lt1"/>
          </a:fontRef>
        </p:style>
        <p:txBody>
          <a:bodyPr wrap="square">
            <a:spAutoFit/>
          </a:bodyPr>
          <a:lstStyle/>
          <a:p>
            <a:r>
              <a:rPr lang="en-US" b="1" dirty="0" smtClean="0"/>
              <a:t>Social Network Graph</a:t>
            </a:r>
            <a:endParaRPr lang="en-US" b="1" dirty="0"/>
          </a:p>
        </p:txBody>
      </p:sp>
      <p:graphicFrame>
        <p:nvGraphicFramePr>
          <p:cNvPr id="9" name="Diagram 8"/>
          <p:cNvGraphicFramePr/>
          <p:nvPr>
            <p:extLst>
              <p:ext uri="{D42A27DB-BD31-4B8C-83A1-F6EECF244321}">
                <p14:modId xmlns:p14="http://schemas.microsoft.com/office/powerpoint/2010/main" val="2241445220"/>
              </p:ext>
            </p:extLst>
          </p:nvPr>
        </p:nvGraphicFramePr>
        <p:xfrm>
          <a:off x="1324304" y="1860331"/>
          <a:ext cx="7520151" cy="36891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4.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file>

<file path=customXml/itemProps2.xml><?xml version="1.0" encoding="utf-8"?>
<ds:datastoreItem xmlns:ds="http://schemas.openxmlformats.org/officeDocument/2006/customXml" ds:itemID="{EB1900B3-A292-4747-BB12-A55D3449785A}"/>
</file>

<file path=customXml/itemProps3.xml><?xml version="1.0" encoding="utf-8"?>
<ds:datastoreItem xmlns:ds="http://schemas.openxmlformats.org/officeDocument/2006/customXml" ds:itemID="{0C7ACCAC-790E-4FED-96C5-D161D635F060}"/>
</file>

<file path=docProps/app.xml><?xml version="1.0" encoding="utf-8"?>
<Properties xmlns="http://schemas.openxmlformats.org/officeDocument/2006/extended-properties" xmlns:vt="http://schemas.openxmlformats.org/officeDocument/2006/docPropsVTypes">
  <Template>PPT Template</Template>
  <TotalTime>4916</TotalTime>
  <Words>1436</Words>
  <Application>Microsoft Office PowerPoint</Application>
  <PresentationFormat>A4 Paper (210x297 mm)</PresentationFormat>
  <Paragraphs>264</Paragraphs>
  <Slides>28</Slides>
  <Notes>27</Notes>
  <HiddenSlides>1</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0" baseType="lpstr">
      <vt:lpstr>Arial</vt:lpstr>
      <vt:lpstr>Arial Narrow</vt:lpstr>
      <vt:lpstr>Calibri</vt:lpstr>
      <vt:lpstr>Candara</vt:lpstr>
      <vt:lpstr>Times New Roman</vt:lpstr>
      <vt:lpstr>Verdana</vt:lpstr>
      <vt:lpstr>Wingdings</vt:lpstr>
      <vt:lpstr>Section slides</vt:lpstr>
      <vt:lpstr>Content Layouts</vt:lpstr>
      <vt:lpstr>Content and Image Layouts</vt:lpstr>
      <vt:lpstr>1_Section slides</vt:lpstr>
      <vt:lpstr>think-cell Slide</vt:lpstr>
      <vt:lpstr>PowerPoint Presentation</vt:lpstr>
      <vt:lpstr>Evaluation Of NoSQL</vt:lpstr>
      <vt:lpstr>Evaluation Of NoSQL</vt:lpstr>
      <vt:lpstr>Evaluation Of NoSQL</vt:lpstr>
      <vt:lpstr>PowerPoint Presentation</vt:lpstr>
      <vt:lpstr>PowerPoint Presentation</vt:lpstr>
      <vt:lpstr> Why NoSQL </vt:lpstr>
      <vt:lpstr>PowerPoint Presentation</vt:lpstr>
      <vt:lpstr>PowerPoint Presentation</vt:lpstr>
      <vt:lpstr>PowerPoint Presentation</vt:lpstr>
      <vt:lpstr>PowerPoint Presentation</vt:lpstr>
      <vt:lpstr>Pros and Cons of NoSQL Databases-Cons Of NoSQL</vt:lpstr>
      <vt:lpstr>Pros and Cons of NoSQL Databases-Pros Of NoSQL</vt:lpstr>
      <vt:lpstr>NoSQL Vs Relational DB</vt:lpstr>
      <vt:lpstr>NoSQL Vs Relational DB</vt:lpstr>
      <vt:lpstr>PowerPoint Presentation</vt:lpstr>
      <vt:lpstr>Data store types-NO SQL Databases Types</vt:lpstr>
      <vt:lpstr>NO SQL Databases Types-Key / value store type</vt:lpstr>
      <vt:lpstr>PowerPoint Presentation</vt:lpstr>
      <vt:lpstr>NO SQL Databases Types-Document data store</vt:lpstr>
      <vt:lpstr>NO SQL Databases Types-Document data store</vt:lpstr>
      <vt:lpstr>NO SQL Databases Types-Document data store</vt:lpstr>
      <vt:lpstr>PowerPoint Presentation</vt:lpstr>
      <vt:lpstr>NO SQL Databases Types-Graph data store type</vt:lpstr>
      <vt:lpstr>PowerPoint Presentation</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ivastava, Vaishali</cp:lastModifiedBy>
  <cp:revision>265</cp:revision>
  <dcterms:created xsi:type="dcterms:W3CDTF">2015-03-06T11:43:58Z</dcterms:created>
  <dcterms:modified xsi:type="dcterms:W3CDTF">2018-05-14T12:5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